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vsdx" ContentType="application/vnd.ms-visio.drawing"/>
  <Default Extension="wmf" ContentType="image/x-wmf"/>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comment2.xml" ContentType="application/vnd.openxmlformats-officedocument.presentationml.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4"/>
  </p:notesMasterIdLst>
  <p:sldIdLst>
    <p:sldId id="275" r:id="rId5"/>
    <p:sldId id="4114" r:id="rId6"/>
    <p:sldId id="628" r:id="rId7"/>
    <p:sldId id="269" r:id="rId8"/>
    <p:sldId id="629" r:id="rId9"/>
    <p:sldId id="2076136568" r:id="rId10"/>
    <p:sldId id="2076136611" r:id="rId11"/>
    <p:sldId id="2076136610" r:id="rId12"/>
    <p:sldId id="2076136609" r:id="rId13"/>
    <p:sldId id="2076136604" r:id="rId14"/>
    <p:sldId id="2076136603" r:id="rId15"/>
    <p:sldId id="2076136600" r:id="rId16"/>
    <p:sldId id="2076136602" r:id="rId17"/>
    <p:sldId id="2076136605" r:id="rId18"/>
    <p:sldId id="4118" r:id="rId19"/>
    <p:sldId id="2076136573" r:id="rId20"/>
    <p:sldId id="2076136608" r:id="rId21"/>
    <p:sldId id="2076136582" r:id="rId22"/>
    <p:sldId id="2076136578" r:id="rId23"/>
    <p:sldId id="2076136585" r:id="rId24"/>
    <p:sldId id="2076136579" r:id="rId25"/>
    <p:sldId id="2076136580" r:id="rId26"/>
    <p:sldId id="2076136581" r:id="rId27"/>
    <p:sldId id="2076136583" r:id="rId28"/>
    <p:sldId id="2076136584" r:id="rId29"/>
    <p:sldId id="2076136586" r:id="rId30"/>
    <p:sldId id="2076136587" r:id="rId31"/>
    <p:sldId id="2076136588" r:id="rId32"/>
    <p:sldId id="2076136593" r:id="rId33"/>
    <p:sldId id="2076136594" r:id="rId34"/>
    <p:sldId id="2076136595" r:id="rId35"/>
    <p:sldId id="2076136596" r:id="rId36"/>
    <p:sldId id="2076136597" r:id="rId37"/>
    <p:sldId id="2076136598" r:id="rId38"/>
    <p:sldId id="2076136599" r:id="rId39"/>
    <p:sldId id="265" r:id="rId40"/>
    <p:sldId id="2076136563" r:id="rId41"/>
    <p:sldId id="293" r:id="rId42"/>
    <p:sldId id="292" r:id="rId43"/>
  </p:sldIdLst>
  <p:sldSz cx="9144000" cy="5143500" type="screen16x9"/>
  <p:notesSz cx="6858000" cy="9144000"/>
  <p:defaultTextStyle>
    <a:defPPr>
      <a:defRPr lang="en-US"/>
    </a:defPPr>
    <a:lvl1pPr marL="0" algn="l" defTabSz="171426" rtl="0" eaLnBrk="1" latinLnBrk="0" hangingPunct="1">
      <a:defRPr sz="675" kern="1200">
        <a:solidFill>
          <a:schemeClr val="tx1"/>
        </a:solidFill>
        <a:latin typeface="+mn-lt"/>
        <a:ea typeface="+mn-ea"/>
        <a:cs typeface="+mn-cs"/>
      </a:defRPr>
    </a:lvl1pPr>
    <a:lvl2pPr marL="171426" algn="l" defTabSz="171426" rtl="0" eaLnBrk="1" latinLnBrk="0" hangingPunct="1">
      <a:defRPr sz="675" kern="1200">
        <a:solidFill>
          <a:schemeClr val="tx1"/>
        </a:solidFill>
        <a:latin typeface="+mn-lt"/>
        <a:ea typeface="+mn-ea"/>
        <a:cs typeface="+mn-cs"/>
      </a:defRPr>
    </a:lvl2pPr>
    <a:lvl3pPr marL="342853" algn="l" defTabSz="171426" rtl="0" eaLnBrk="1" latinLnBrk="0" hangingPunct="1">
      <a:defRPr sz="675" kern="1200">
        <a:solidFill>
          <a:schemeClr val="tx1"/>
        </a:solidFill>
        <a:latin typeface="+mn-lt"/>
        <a:ea typeface="+mn-ea"/>
        <a:cs typeface="+mn-cs"/>
      </a:defRPr>
    </a:lvl3pPr>
    <a:lvl4pPr marL="514279" algn="l" defTabSz="171426" rtl="0" eaLnBrk="1" latinLnBrk="0" hangingPunct="1">
      <a:defRPr sz="675" kern="1200">
        <a:solidFill>
          <a:schemeClr val="tx1"/>
        </a:solidFill>
        <a:latin typeface="+mn-lt"/>
        <a:ea typeface="+mn-ea"/>
        <a:cs typeface="+mn-cs"/>
      </a:defRPr>
    </a:lvl4pPr>
    <a:lvl5pPr marL="685706" algn="l" defTabSz="171426" rtl="0" eaLnBrk="1" latinLnBrk="0" hangingPunct="1">
      <a:defRPr sz="675" kern="1200">
        <a:solidFill>
          <a:schemeClr val="tx1"/>
        </a:solidFill>
        <a:latin typeface="+mn-lt"/>
        <a:ea typeface="+mn-ea"/>
        <a:cs typeface="+mn-cs"/>
      </a:defRPr>
    </a:lvl5pPr>
    <a:lvl6pPr marL="857132" algn="l" defTabSz="171426" rtl="0" eaLnBrk="1" latinLnBrk="0" hangingPunct="1">
      <a:defRPr sz="675" kern="1200">
        <a:solidFill>
          <a:schemeClr val="tx1"/>
        </a:solidFill>
        <a:latin typeface="+mn-lt"/>
        <a:ea typeface="+mn-ea"/>
        <a:cs typeface="+mn-cs"/>
      </a:defRPr>
    </a:lvl6pPr>
    <a:lvl7pPr marL="1028559" algn="l" defTabSz="171426" rtl="0" eaLnBrk="1" latinLnBrk="0" hangingPunct="1">
      <a:defRPr sz="675" kern="1200">
        <a:solidFill>
          <a:schemeClr val="tx1"/>
        </a:solidFill>
        <a:latin typeface="+mn-lt"/>
        <a:ea typeface="+mn-ea"/>
        <a:cs typeface="+mn-cs"/>
      </a:defRPr>
    </a:lvl7pPr>
    <a:lvl8pPr marL="1199985" algn="l" defTabSz="171426" rtl="0" eaLnBrk="1" latinLnBrk="0" hangingPunct="1">
      <a:defRPr sz="675" kern="1200">
        <a:solidFill>
          <a:schemeClr val="tx1"/>
        </a:solidFill>
        <a:latin typeface="+mn-lt"/>
        <a:ea typeface="+mn-ea"/>
        <a:cs typeface="+mn-cs"/>
      </a:defRPr>
    </a:lvl8pPr>
    <a:lvl9pPr marL="1371411" algn="l" defTabSz="171426" rtl="0" eaLnBrk="1" latinLnBrk="0" hangingPunct="1">
      <a:defRPr sz="675"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tin Willanger" initials="MW" lastIdx="8" clrIdx="0">
    <p:extLst>
      <p:ext uri="{19B8F6BF-5375-455C-9EA6-DF929625EA0E}">
        <p15:presenceInfo xmlns:p15="http://schemas.microsoft.com/office/powerpoint/2012/main" userId="S::martin.willanger@crayon.com::29290791-43e5-4215-be05-049fc4bb27fe" providerId="AD"/>
      </p:ext>
    </p:extLst>
  </p:cmAuthor>
  <p:cmAuthor id="2" name="Betina Schau-Liberg" initials="BS" lastIdx="2" clrIdx="1">
    <p:extLst>
      <p:ext uri="{19B8F6BF-5375-455C-9EA6-DF929625EA0E}">
        <p15:presenceInfo xmlns:p15="http://schemas.microsoft.com/office/powerpoint/2012/main" userId="S::betina.schau-liberg@crayon.com::5d44239d-0534-42ef-bf6c-5dbd8a134ab6" providerId="AD"/>
      </p:ext>
    </p:extLst>
  </p:cmAuthor>
  <p:cmAuthor id="3" name="Patrick Holm" initials="PH" lastIdx="3" clrIdx="2">
    <p:extLst>
      <p:ext uri="{19B8F6BF-5375-455C-9EA6-DF929625EA0E}">
        <p15:presenceInfo xmlns:p15="http://schemas.microsoft.com/office/powerpoint/2012/main" userId="S::patrick.holm@crayon.com::a4ab898b-334d-4980-b513-1c0ee28d6b64" providerId="AD"/>
      </p:ext>
    </p:extLst>
  </p:cmAuthor>
  <p:cmAuthor id="4" name="Peter Osang" initials="PO" lastIdx="10" clrIdx="3">
    <p:extLst>
      <p:ext uri="{19B8F6BF-5375-455C-9EA6-DF929625EA0E}">
        <p15:presenceInfo xmlns:p15="http://schemas.microsoft.com/office/powerpoint/2012/main" userId="Peter Osa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7C80"/>
    <a:srgbClr val="094E5D"/>
    <a:srgbClr val="800000"/>
    <a:srgbClr val="FF9900"/>
    <a:srgbClr val="C9BFB7"/>
    <a:srgbClr val="E6E4D9"/>
    <a:srgbClr val="FF6A4C"/>
    <a:srgbClr val="006600"/>
    <a:srgbClr val="009999"/>
    <a:srgbClr val="808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6357" autoAdjust="0"/>
  </p:normalViewPr>
  <p:slideViewPr>
    <p:cSldViewPr snapToGrid="0">
      <p:cViewPr>
        <p:scale>
          <a:sx n="110" d="100"/>
          <a:sy n="110" d="100"/>
        </p:scale>
        <p:origin x="924" y="6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omments/comment1.xml><?xml version="1.0" encoding="utf-8"?>
<p:cmLst xmlns:a="http://schemas.openxmlformats.org/drawingml/2006/main" xmlns:r="http://schemas.openxmlformats.org/officeDocument/2006/relationships" xmlns:p="http://schemas.openxmlformats.org/presentationml/2006/main">
  <p:cm authorId="4" dt="2020-09-01T09:46:26.136" idx="3">
    <p:pos x="106" y="106"/>
    <p:text>I suggest that we make the colour of these slides different to help with denoting them as section headings?</p:text>
    <p:extLst>
      <p:ext uri="{C676402C-5697-4E1C-873F-D02D1690AC5C}">
        <p15:threadingInfo xmlns:p15="http://schemas.microsoft.com/office/powerpoint/2012/main" timeZoneBias="-60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4" dt="2020-09-01T11:33:10.686" idx="9">
    <p:pos x="10" y="10"/>
    <p:text>I thought that this would be a useful slide to have</p:text>
    <p:extLst>
      <p:ext uri="{C676402C-5697-4E1C-873F-D02D1690AC5C}">
        <p15:threadingInfo xmlns:p15="http://schemas.microsoft.com/office/powerpoint/2012/main" timeZoneBias="-60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4.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D583E89-FAC3-DE4E-8154-16F71F6F848A}" type="datetimeFigureOut">
              <a:t>10/27/2020</a:t>
            </a:fld>
            <a:endParaRPr lang="en-N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482394-67E1-6746-A610-9C5C5DD3D716}" type="slidenum">
              <a:t>‹#›</a:t>
            </a:fld>
            <a:endParaRPr lang="en-NO"/>
          </a:p>
        </p:txBody>
      </p:sp>
    </p:spTree>
    <p:extLst>
      <p:ext uri="{BB962C8B-B14F-4D97-AF65-F5344CB8AC3E}">
        <p14:creationId xmlns:p14="http://schemas.microsoft.com/office/powerpoint/2010/main" val="15174861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F26BF5A1-76D7-574C-B1D5-32FA17C92657}" type="slidenum">
              <a:rPr lang="en-GB" smtClean="0"/>
              <a:t>2</a:t>
            </a:fld>
            <a:endParaRPr lang="en-GB"/>
          </a:p>
        </p:txBody>
      </p:sp>
    </p:spTree>
    <p:extLst>
      <p:ext uri="{BB962C8B-B14F-4D97-AF65-F5344CB8AC3E}">
        <p14:creationId xmlns:p14="http://schemas.microsoft.com/office/powerpoint/2010/main" val="29264103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F26BF5A1-76D7-574C-B1D5-32FA17C92657}" type="slidenum">
              <a:rPr lang="en-GB" smtClean="0"/>
              <a:t>6</a:t>
            </a:fld>
            <a:endParaRPr lang="en-GB"/>
          </a:p>
        </p:txBody>
      </p:sp>
    </p:spTree>
    <p:extLst>
      <p:ext uri="{BB962C8B-B14F-4D97-AF65-F5344CB8AC3E}">
        <p14:creationId xmlns:p14="http://schemas.microsoft.com/office/powerpoint/2010/main" val="19272829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a:p>
        </p:txBody>
      </p:sp>
      <p:sp>
        <p:nvSpPr>
          <p:cNvPr id="4" name="Slide Number Placeholder 3"/>
          <p:cNvSpPr>
            <a:spLocks noGrp="1"/>
          </p:cNvSpPr>
          <p:nvPr>
            <p:ph type="sldNum" sz="quarter" idx="10"/>
          </p:nvPr>
        </p:nvSpPr>
        <p:spPr/>
        <p:txBody>
          <a:bodyPr/>
          <a:lstStyle/>
          <a:p>
            <a:pPr marL="0" marR="0" lvl="0" indent="0" algn="r" defTabSz="932910" rtl="0" eaLnBrk="1" fontAlgn="auto" latinLnBrk="0" hangingPunct="1">
              <a:lnSpc>
                <a:spcPct val="100000"/>
              </a:lnSpc>
              <a:spcBef>
                <a:spcPts val="0"/>
              </a:spcBef>
              <a:spcAft>
                <a:spcPts val="0"/>
              </a:spcAft>
              <a:buClrTx/>
              <a:buSzTx/>
              <a:buFontTx/>
              <a:buNone/>
              <a:tabLst/>
              <a:defRPr/>
            </a:pPr>
            <a:fld id="{074299CD-3469-7241-AD37-C0E01E3A61D2}" type="slidenum">
              <a:rPr kumimoji="0" lang="en-US" sz="1200" b="0" i="0" u="none" strike="noStrike" kern="1200" cap="none" spc="0" normalizeH="0" baseline="0" noProof="0">
                <a:ln>
                  <a:noFill/>
                </a:ln>
                <a:solidFill>
                  <a:srgbClr val="293E40"/>
                </a:solidFill>
                <a:effectLst/>
                <a:uLnTx/>
                <a:uFillTx/>
                <a:latin typeface="Century Gothic" panose="020F0302020204030204"/>
                <a:ea typeface="+mn-ea"/>
                <a:cs typeface="+mn-cs"/>
              </a:rPr>
              <a:pPr marL="0" marR="0" lvl="0" indent="0" algn="r" defTabSz="93291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293E40"/>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8717826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a:p>
        </p:txBody>
      </p:sp>
      <p:sp>
        <p:nvSpPr>
          <p:cNvPr id="4" name="Slide Number Placeholder 3"/>
          <p:cNvSpPr>
            <a:spLocks noGrp="1"/>
          </p:cNvSpPr>
          <p:nvPr>
            <p:ph type="sldNum" sz="quarter" idx="10"/>
          </p:nvPr>
        </p:nvSpPr>
        <p:spPr/>
        <p:txBody>
          <a:bodyPr/>
          <a:lstStyle/>
          <a:p>
            <a:pPr marL="0" marR="0" lvl="0" indent="0" algn="r" defTabSz="932910" rtl="0" eaLnBrk="1" fontAlgn="auto" latinLnBrk="0" hangingPunct="1">
              <a:lnSpc>
                <a:spcPct val="100000"/>
              </a:lnSpc>
              <a:spcBef>
                <a:spcPts val="0"/>
              </a:spcBef>
              <a:spcAft>
                <a:spcPts val="0"/>
              </a:spcAft>
              <a:buClrTx/>
              <a:buSzTx/>
              <a:buFontTx/>
              <a:buNone/>
              <a:tabLst/>
              <a:defRPr/>
            </a:pPr>
            <a:fld id="{074299CD-3469-7241-AD37-C0E01E3A61D2}" type="slidenum">
              <a:rPr kumimoji="0" lang="en-US" sz="1200" b="0" i="0" u="none" strike="noStrike" kern="1200" cap="none" spc="0" normalizeH="0" baseline="0" noProof="0">
                <a:ln>
                  <a:noFill/>
                </a:ln>
                <a:solidFill>
                  <a:srgbClr val="293E40"/>
                </a:solidFill>
                <a:effectLst/>
                <a:uLnTx/>
                <a:uFillTx/>
                <a:latin typeface="Century Gothic" panose="020F0302020204030204"/>
                <a:ea typeface="+mn-ea"/>
                <a:cs typeface="+mn-cs"/>
              </a:rPr>
              <a:pPr marL="0" marR="0" lvl="0" indent="0" algn="r" defTabSz="93291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srgbClr val="293E40"/>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7816441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0D482394-67E1-6746-A610-9C5C5DD3D716}" type="slidenum">
              <a:rPr lang="en-AU" smtClean="0"/>
              <a:t>30</a:t>
            </a:fld>
            <a:endParaRPr lang="en-AU"/>
          </a:p>
        </p:txBody>
      </p:sp>
    </p:spTree>
    <p:extLst>
      <p:ext uri="{BB962C8B-B14F-4D97-AF65-F5344CB8AC3E}">
        <p14:creationId xmlns:p14="http://schemas.microsoft.com/office/powerpoint/2010/main" val="39085700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0D482394-67E1-6746-A610-9C5C5DD3D716}" type="slidenum">
              <a:rPr lang="en-AU" smtClean="0"/>
              <a:t>31</a:t>
            </a:fld>
            <a:endParaRPr lang="en-AU"/>
          </a:p>
        </p:txBody>
      </p:sp>
    </p:spTree>
    <p:extLst>
      <p:ext uri="{BB962C8B-B14F-4D97-AF65-F5344CB8AC3E}">
        <p14:creationId xmlns:p14="http://schemas.microsoft.com/office/powerpoint/2010/main" val="236334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0D482394-67E1-6746-A610-9C5C5DD3D716}" type="slidenum">
              <a:rPr lang="en-AU" smtClean="0"/>
              <a:t>33</a:t>
            </a:fld>
            <a:endParaRPr lang="en-AU"/>
          </a:p>
        </p:txBody>
      </p:sp>
    </p:spTree>
    <p:extLst>
      <p:ext uri="{BB962C8B-B14F-4D97-AF65-F5344CB8AC3E}">
        <p14:creationId xmlns:p14="http://schemas.microsoft.com/office/powerpoint/2010/main" val="21992998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0D482394-67E1-6746-A610-9C5C5DD3D716}" type="slidenum">
              <a:rPr lang="en-AU" smtClean="0"/>
              <a:t>34</a:t>
            </a:fld>
            <a:endParaRPr lang="en-AU"/>
          </a:p>
        </p:txBody>
      </p:sp>
    </p:spTree>
    <p:extLst>
      <p:ext uri="{BB962C8B-B14F-4D97-AF65-F5344CB8AC3E}">
        <p14:creationId xmlns:p14="http://schemas.microsoft.com/office/powerpoint/2010/main" val="6217150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0D482394-67E1-6746-A610-9C5C5DD3D716}" type="slidenum">
              <a:rPr lang="en-AU" smtClean="0"/>
              <a:t>35</a:t>
            </a:fld>
            <a:endParaRPr lang="en-AU"/>
          </a:p>
        </p:txBody>
      </p:sp>
    </p:spTree>
    <p:extLst>
      <p:ext uri="{BB962C8B-B14F-4D97-AF65-F5344CB8AC3E}">
        <p14:creationId xmlns:p14="http://schemas.microsoft.com/office/powerpoint/2010/main" val="30901494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file:////Users/qoo/Library/Containers/com.microsoft.Outlook/Data/Library/Caches/Signatures/signature_1651829157" TargetMode="External"/><Relationship Id="rId3" Type="http://schemas.openxmlformats.org/officeDocument/2006/relationships/tags" Target="../tags/tag2.xml"/><Relationship Id="rId7" Type="http://schemas.openxmlformats.org/officeDocument/2006/relationships/image" Target="../media/image1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3"/>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15" indent="0" algn="ctr">
              <a:buNone/>
              <a:defRPr sz="1500"/>
            </a:lvl2pPr>
            <a:lvl3pPr marL="685628" indent="0" algn="ctr">
              <a:buNone/>
              <a:defRPr sz="1350"/>
            </a:lvl3pPr>
            <a:lvl4pPr marL="1028443" indent="0" algn="ctr">
              <a:buNone/>
              <a:defRPr sz="1200"/>
            </a:lvl4pPr>
            <a:lvl5pPr marL="1371257" indent="0" algn="ctr">
              <a:buNone/>
              <a:defRPr sz="1200"/>
            </a:lvl5pPr>
            <a:lvl6pPr marL="1714072" indent="0" algn="ctr">
              <a:buNone/>
              <a:defRPr sz="1200"/>
            </a:lvl6pPr>
            <a:lvl7pPr marL="2056885" indent="0" algn="ctr">
              <a:buNone/>
              <a:defRPr sz="1200"/>
            </a:lvl7pPr>
            <a:lvl8pPr marL="2399700" indent="0" algn="ctr">
              <a:buNone/>
              <a:defRPr sz="1200"/>
            </a:lvl8pPr>
            <a:lvl9pPr marL="2742515" indent="0" algn="ctr">
              <a:buNone/>
              <a:defRPr sz="1200"/>
            </a:lvl9pPr>
          </a:lstStyle>
          <a:p>
            <a:r>
              <a:rPr lang="en-US"/>
              <a:t>Subtitle</a:t>
            </a:r>
          </a:p>
        </p:txBody>
      </p:sp>
      <p:sp>
        <p:nvSpPr>
          <p:cNvPr id="4" name="Date Placeholder 3"/>
          <p:cNvSpPr>
            <a:spLocks noGrp="1"/>
          </p:cNvSpPr>
          <p:nvPr>
            <p:ph type="dt" sz="half" idx="10"/>
          </p:nvPr>
        </p:nvSpPr>
        <p:spPr>
          <a:xfrm>
            <a:off x="7051881" y="216157"/>
            <a:ext cx="1463469" cy="273844"/>
          </a:xfrm>
        </p:spPr>
        <p:txBody>
          <a:bodyPr lIns="0" tIns="11430" rIns="0" bIns="11430"/>
          <a:lstStyle>
            <a:lvl1pPr algn="r">
              <a:defRPr sz="1400">
                <a:solidFill>
                  <a:schemeClr val="bg1"/>
                </a:solidFill>
              </a:defRPr>
            </a:lvl1pPr>
          </a:lstStyle>
          <a:p>
            <a:endParaRPr lang="en-US"/>
          </a:p>
        </p:txBody>
      </p:sp>
      <p:sp>
        <p:nvSpPr>
          <p:cNvPr id="5" name="Footer Placeholder 4"/>
          <p:cNvSpPr>
            <a:spLocks noGrp="1"/>
          </p:cNvSpPr>
          <p:nvPr>
            <p:ph type="ftr" sz="quarter" idx="11"/>
          </p:nvPr>
        </p:nvSpPr>
        <p:spPr>
          <a:xfrm>
            <a:off x="4571999" y="216157"/>
            <a:ext cx="2431705" cy="273844"/>
          </a:xfrm>
        </p:spPr>
        <p:txBody>
          <a:bodyPr lIns="22860" tIns="11430" rIns="22860" bIns="11430"/>
          <a:lstStyle>
            <a:lvl1pPr algn="l">
              <a:defRPr sz="1400">
                <a:solidFill>
                  <a:schemeClr val="bg1"/>
                </a:solidFill>
              </a:defRPr>
            </a:lvl1pPr>
          </a:lstStyle>
          <a:p>
            <a:r>
              <a:rPr lang="en-US"/>
              <a:t>Internal</a:t>
            </a:r>
          </a:p>
        </p:txBody>
      </p:sp>
      <p:sp>
        <p:nvSpPr>
          <p:cNvPr id="6" name="Slide Number Placeholder 5"/>
          <p:cNvSpPr>
            <a:spLocks noGrp="1"/>
          </p:cNvSpPr>
          <p:nvPr>
            <p:ph type="sldNum" sz="quarter" idx="12"/>
          </p:nvPr>
        </p:nvSpPr>
        <p:spPr/>
        <p:txBody>
          <a:bodyPr lIns="22860" tIns="11430" rIns="22860" bIns="11430"/>
          <a:lstStyle>
            <a:lvl1pPr>
              <a:defRPr>
                <a:solidFill>
                  <a:schemeClr val="bg1"/>
                </a:solidFill>
              </a:defRPr>
            </a:lvl1pPr>
          </a:lstStyle>
          <a:p>
            <a:fld id="{6E737AD4-1126-44A2-B8AE-C24508FC0AC9}" type="slidenum">
              <a:rPr lang="en-US" smtClean="0"/>
              <a:pPr/>
              <a:t>‹#›</a:t>
            </a:fld>
            <a:endParaRPr lang="en-US"/>
          </a:p>
        </p:txBody>
      </p:sp>
      <p:pic>
        <p:nvPicPr>
          <p:cNvPr id="9" name="Graphic 8">
            <a:extLst>
              <a:ext uri="{FF2B5EF4-FFF2-40B4-BE49-F238E27FC236}">
                <a16:creationId xmlns:a16="http://schemas.microsoft.com/office/drawing/2014/main" id="{6B3DB90B-999F-48DC-BBF7-B18228CEA3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8325" y="1323506"/>
            <a:ext cx="3279802" cy="658816"/>
          </a:xfrm>
          <a:prstGeom prst="rect">
            <a:avLst/>
          </a:prstGeom>
        </p:spPr>
      </p:pic>
    </p:spTree>
    <p:extLst>
      <p:ext uri="{BB962C8B-B14F-4D97-AF65-F5344CB8AC3E}">
        <p14:creationId xmlns:p14="http://schemas.microsoft.com/office/powerpoint/2010/main" val="6069283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content and picture (R) dark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876722F9-92F6-F441-8868-C450CCF37167}" type="datetime1">
              <a:rPr lang="nb-NO" smtClean="0"/>
              <a:pPr/>
              <a:t>27.10.2020</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chemeClr val="bg1"/>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489344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content and picture (R) Light">
    <p:bg>
      <p:bgPr>
        <a:solidFill>
          <a:srgbClr val="E6E4D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rgbClr val="094E5D"/>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094E5D"/>
                </a:solidFill>
              </a:defRPr>
            </a:lvl1pPr>
          </a:lstStyle>
          <a:p>
            <a:fld id="{876722F9-92F6-F441-8868-C450CCF37167}" type="datetime1">
              <a:rPr lang="nb-NO" smtClean="0"/>
              <a:pPr/>
              <a:t>27.10.2020</a:t>
            </a:fld>
            <a:endParaRPr lang="en-US"/>
          </a:p>
        </p:txBody>
      </p:sp>
      <p:sp>
        <p:nvSpPr>
          <p:cNvPr id="5" name="Footer Placeholder 4"/>
          <p:cNvSpPr>
            <a:spLocks noGrp="1"/>
          </p:cNvSpPr>
          <p:nvPr>
            <p:ph type="ftr" sz="quarter" idx="11"/>
          </p:nvPr>
        </p:nvSpPr>
        <p:spPr/>
        <p:txBody>
          <a:bodyPr/>
          <a:lstStyle>
            <a:lvl1pPr>
              <a:defRPr>
                <a:solidFill>
                  <a:srgbClr val="094E5D"/>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094E5D"/>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094E5D"/>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094E5D"/>
                </a:solidFill>
              </a:defRPr>
            </a:lvl1pPr>
          </a:lstStyle>
          <a:p>
            <a:pPr lvl="0"/>
            <a:r>
              <a:rPr lang="en-US"/>
              <a:t>Click to edit Master text styles</a:t>
            </a:r>
          </a:p>
        </p:txBody>
      </p:sp>
    </p:spTree>
    <p:extLst>
      <p:ext uri="{BB962C8B-B14F-4D97-AF65-F5344CB8AC3E}">
        <p14:creationId xmlns:p14="http://schemas.microsoft.com/office/powerpoint/2010/main" val="37739640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content and picture (R) Light 2">
    <p:bg>
      <p:bgPr>
        <a:solidFill>
          <a:srgbClr val="F2F1E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rgbClr val="094E5D"/>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094E5D"/>
                </a:solidFill>
              </a:defRPr>
            </a:lvl1pPr>
          </a:lstStyle>
          <a:p>
            <a:fld id="{876722F9-92F6-F441-8868-C450CCF37167}" type="datetime1">
              <a:rPr lang="nb-NO" smtClean="0"/>
              <a:pPr/>
              <a:t>27.10.2020</a:t>
            </a:fld>
            <a:endParaRPr lang="en-US"/>
          </a:p>
        </p:txBody>
      </p:sp>
      <p:sp>
        <p:nvSpPr>
          <p:cNvPr id="5" name="Footer Placeholder 4"/>
          <p:cNvSpPr>
            <a:spLocks noGrp="1"/>
          </p:cNvSpPr>
          <p:nvPr>
            <p:ph type="ftr" sz="quarter" idx="11"/>
          </p:nvPr>
        </p:nvSpPr>
        <p:spPr/>
        <p:txBody>
          <a:bodyPr/>
          <a:lstStyle>
            <a:lvl1pPr>
              <a:defRPr>
                <a:solidFill>
                  <a:srgbClr val="094E5D"/>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094E5D"/>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094E5D"/>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094E5D"/>
                </a:solidFill>
              </a:defRPr>
            </a:lvl1pPr>
          </a:lstStyle>
          <a:p>
            <a:pPr lvl="0"/>
            <a:r>
              <a:rPr lang="en-US"/>
              <a:t>Click to edit Master text styles</a:t>
            </a:r>
          </a:p>
        </p:txBody>
      </p:sp>
    </p:spTree>
    <p:extLst>
      <p:ext uri="{BB962C8B-B14F-4D97-AF65-F5344CB8AC3E}">
        <p14:creationId xmlns:p14="http://schemas.microsoft.com/office/powerpoint/2010/main" val="21985907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tel, tekst og stort bilde">
    <p:spTree>
      <p:nvGrpSpPr>
        <p:cNvPr id="1" name=""/>
        <p:cNvGrpSpPr/>
        <p:nvPr/>
      </p:nvGrpSpPr>
      <p:grpSpPr>
        <a:xfrm>
          <a:off x="0" y="0"/>
          <a:ext cx="0" cy="0"/>
          <a:chOff x="0" y="0"/>
          <a:chExt cx="0" cy="0"/>
        </a:xfrm>
      </p:grpSpPr>
      <p:sp>
        <p:nvSpPr>
          <p:cNvPr id="2" name="Title 1"/>
          <p:cNvSpPr>
            <a:spLocks noGrp="1"/>
          </p:cNvSpPr>
          <p:nvPr>
            <p:ph type="title"/>
          </p:nvPr>
        </p:nvSpPr>
        <p:spPr>
          <a:xfrm>
            <a:off x="552224" y="3654304"/>
            <a:ext cx="3725548" cy="917665"/>
          </a:xfrm>
        </p:spPr>
        <p:txBody>
          <a:bodyPr>
            <a:noAutofit/>
          </a:bodyPr>
          <a:lstStyle>
            <a:lvl1pPr>
              <a:lnSpc>
                <a:spcPct val="100000"/>
              </a:lnSpc>
              <a:defRPr b="1">
                <a:solidFill>
                  <a:srgbClr val="094E5D"/>
                </a:solidFill>
              </a:defRPr>
            </a:lvl1pPr>
          </a:lstStyle>
          <a:p>
            <a:r>
              <a:rPr lang="en-US"/>
              <a:t>Click to edit Master title style</a:t>
            </a:r>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52224" y="3344885"/>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0" y="1"/>
            <a:ext cx="9144000" cy="3129325"/>
          </a:xfrm>
        </p:spPr>
        <p:txBody>
          <a:bodyPr/>
          <a:lstStyle/>
          <a:p>
            <a:r>
              <a:rPr lang="en-US"/>
              <a:t>Click icon to add picture</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4729184" y="3344885"/>
            <a:ext cx="3862592" cy="1227084"/>
          </a:xfrm>
          <a:prstGeom prst="rect">
            <a:avLst/>
          </a:prstGeom>
        </p:spPr>
        <p:txBody>
          <a:bodyPr lIns="91440" tIns="136800" rIns="91440" bIns="45720">
            <a:noAutofit/>
          </a:bodyPr>
          <a:lstStyle>
            <a:lvl1pPr marL="0" indent="0">
              <a:lnSpc>
                <a:spcPct val="130000"/>
              </a:lnSpc>
              <a:spcBef>
                <a:spcPts val="0"/>
              </a:spcBef>
              <a:buNone/>
              <a:defRPr sz="1200">
                <a:solidFill>
                  <a:srgbClr val="094E5D"/>
                </a:solidFill>
              </a:defRPr>
            </a:lvl1pPr>
          </a:lstStyle>
          <a:p>
            <a:pPr lvl="0"/>
            <a:r>
              <a:rPr lang="en-US"/>
              <a:t>Click to edit Master text styles</a:t>
            </a:r>
          </a:p>
        </p:txBody>
      </p:sp>
    </p:spTree>
    <p:extLst>
      <p:ext uri="{BB962C8B-B14F-4D97-AF65-F5344CB8AC3E}">
        <p14:creationId xmlns:p14="http://schemas.microsoft.com/office/powerpoint/2010/main" val="236138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tel og 2 innholdsdeler">
    <p:spTree>
      <p:nvGrpSpPr>
        <p:cNvPr id="1" name=""/>
        <p:cNvGrpSpPr/>
        <p:nvPr/>
      </p:nvGrpSpPr>
      <p:grpSpPr>
        <a:xfrm>
          <a:off x="0" y="0"/>
          <a:ext cx="0" cy="0"/>
          <a:chOff x="0" y="0"/>
          <a:chExt cx="0" cy="0"/>
        </a:xfrm>
      </p:grpSpPr>
      <p:sp>
        <p:nvSpPr>
          <p:cNvPr id="2" name="Title 1"/>
          <p:cNvSpPr>
            <a:spLocks noGrp="1"/>
          </p:cNvSpPr>
          <p:nvPr>
            <p:ph type="title"/>
          </p:nvPr>
        </p:nvSpPr>
        <p:spPr>
          <a:xfrm>
            <a:off x="687679" y="480990"/>
            <a:ext cx="7767446" cy="476147"/>
          </a:xfrm>
        </p:spPr>
        <p:txBody>
          <a:bodyPr anchor="b"/>
          <a:lstStyle>
            <a:lvl1pPr algn="ctr">
              <a:defRPr/>
            </a:lvl1pPr>
          </a:lstStyle>
          <a:p>
            <a:r>
              <a:rPr lang="en-US"/>
              <a:t>Click to edit Master title style</a:t>
            </a:r>
          </a:p>
        </p:txBody>
      </p:sp>
      <p:sp>
        <p:nvSpPr>
          <p:cNvPr id="3" name="Content Placeholder 2"/>
          <p:cNvSpPr>
            <a:spLocks noGrp="1"/>
          </p:cNvSpPr>
          <p:nvPr>
            <p:ph sz="half" idx="1"/>
          </p:nvPr>
        </p:nvSpPr>
        <p:spPr>
          <a:xfrm>
            <a:off x="687679" y="1740718"/>
            <a:ext cx="3545903" cy="2899149"/>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4" name="Content Placeholder 3"/>
          <p:cNvSpPr>
            <a:spLocks noGrp="1"/>
          </p:cNvSpPr>
          <p:nvPr>
            <p:ph sz="half" idx="2"/>
          </p:nvPr>
        </p:nvSpPr>
        <p:spPr>
          <a:xfrm>
            <a:off x="4909223" y="1740973"/>
            <a:ext cx="3545902" cy="2898893"/>
          </a:xfrm>
        </p:spPr>
        <p:txBody>
          <a:bodyPr>
            <a:noAutofit/>
          </a:bodyPr>
          <a:lstStyle>
            <a:lvl1pPr marL="0" indent="0">
              <a:lnSpc>
                <a:spcPct val="130000"/>
              </a:lnSpc>
              <a:spcBef>
                <a:spcPts val="0"/>
              </a:spcBef>
              <a:buNone/>
              <a:defRPr sz="1200"/>
            </a:lvl1pPr>
            <a:lvl2pPr>
              <a:defRPr sz="1200"/>
            </a:lvl2pPr>
            <a:lvl3pPr>
              <a:defRPr sz="1200"/>
            </a:lvl3pPr>
            <a:lvl4pPr>
              <a:defRPr sz="1200"/>
            </a:lvl4pPr>
            <a:lvl5pPr>
              <a:defRPr sz="1200"/>
            </a:lvl5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Internal</a:t>
            </a:r>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sp>
        <p:nvSpPr>
          <p:cNvPr id="15" name="Text Placeholder 14">
            <a:extLst>
              <a:ext uri="{FF2B5EF4-FFF2-40B4-BE49-F238E27FC236}">
                <a16:creationId xmlns:a16="http://schemas.microsoft.com/office/drawing/2014/main" id="{08AEB628-9048-44D7-B88A-F308ABAC721A}"/>
              </a:ext>
            </a:extLst>
          </p:cNvPr>
          <p:cNvSpPr>
            <a:spLocks noGrp="1"/>
          </p:cNvSpPr>
          <p:nvPr>
            <p:ph type="body" sz="quarter" idx="13" hasCustomPrompt="1"/>
          </p:nvPr>
        </p:nvSpPr>
        <p:spPr>
          <a:xfrm>
            <a:off x="687679" y="1397282"/>
            <a:ext cx="3546140" cy="286554"/>
          </a:xfrm>
        </p:spPr>
        <p:txBody>
          <a:bodyPr anchor="b">
            <a:noAutofit/>
          </a:bodyPr>
          <a:lstStyle>
            <a:lvl1pPr marL="0" indent="0">
              <a:buNone/>
              <a:defRPr sz="1600" b="1"/>
            </a:lvl1pPr>
          </a:lstStyle>
          <a:p>
            <a:pPr lvl="0"/>
            <a:r>
              <a:rPr lang="en-US"/>
              <a:t>1.</a:t>
            </a:r>
          </a:p>
        </p:txBody>
      </p:sp>
      <p:sp>
        <p:nvSpPr>
          <p:cNvPr id="16" name="Text Placeholder 14">
            <a:extLst>
              <a:ext uri="{FF2B5EF4-FFF2-40B4-BE49-F238E27FC236}">
                <a16:creationId xmlns:a16="http://schemas.microsoft.com/office/drawing/2014/main" id="{E26445D3-AD7C-422F-817D-E1B0CAA70059}"/>
              </a:ext>
            </a:extLst>
          </p:cNvPr>
          <p:cNvSpPr>
            <a:spLocks noGrp="1"/>
          </p:cNvSpPr>
          <p:nvPr>
            <p:ph type="body" sz="quarter" idx="14" hasCustomPrompt="1"/>
          </p:nvPr>
        </p:nvSpPr>
        <p:spPr>
          <a:xfrm>
            <a:off x="4908991" y="1397282"/>
            <a:ext cx="3546140" cy="286554"/>
          </a:xfrm>
        </p:spPr>
        <p:txBody>
          <a:bodyPr anchor="b">
            <a:noAutofit/>
          </a:bodyPr>
          <a:lstStyle>
            <a:lvl1pPr marL="0" indent="0">
              <a:buNone/>
              <a:defRPr sz="1600" b="1"/>
            </a:lvl1pPr>
          </a:lstStyle>
          <a:p>
            <a:pPr lvl="0"/>
            <a:r>
              <a:rPr lang="en-US"/>
              <a:t>2.</a:t>
            </a:r>
          </a:p>
        </p:txBody>
      </p:sp>
      <p:cxnSp>
        <p:nvCxnSpPr>
          <p:cNvPr id="12" name="Straight Connector 11">
            <a:extLst>
              <a:ext uri="{FF2B5EF4-FFF2-40B4-BE49-F238E27FC236}">
                <a16:creationId xmlns:a16="http://schemas.microsoft.com/office/drawing/2014/main" id="{DEA8ACF8-CC5E-2340-9A5F-4E6DE474C998}"/>
              </a:ext>
            </a:extLst>
          </p:cNvPr>
          <p:cNvCxnSpPr>
            <a:cxnSpLocks/>
          </p:cNvCxnSpPr>
          <p:nvPr userDrawn="1"/>
        </p:nvCxnSpPr>
        <p:spPr>
          <a:xfrm>
            <a:off x="4571402" y="1467983"/>
            <a:ext cx="0" cy="2922359"/>
          </a:xfrm>
          <a:prstGeom prst="line">
            <a:avLst/>
          </a:prstGeom>
          <a:ln w="603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76514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tel og 4 innholdsdeler">
    <p:spTree>
      <p:nvGrpSpPr>
        <p:cNvPr id="1" name=""/>
        <p:cNvGrpSpPr/>
        <p:nvPr/>
      </p:nvGrpSpPr>
      <p:grpSpPr>
        <a:xfrm>
          <a:off x="0" y="0"/>
          <a:ext cx="0" cy="0"/>
          <a:chOff x="0" y="0"/>
          <a:chExt cx="0" cy="0"/>
        </a:xfrm>
      </p:grpSpPr>
      <p:sp>
        <p:nvSpPr>
          <p:cNvPr id="2" name="Title 1"/>
          <p:cNvSpPr>
            <a:spLocks noGrp="1"/>
          </p:cNvSpPr>
          <p:nvPr>
            <p:ph type="title"/>
          </p:nvPr>
        </p:nvSpPr>
        <p:spPr>
          <a:xfrm>
            <a:off x="687679" y="480990"/>
            <a:ext cx="7767215" cy="476147"/>
          </a:xfrm>
        </p:spPr>
        <p:txBody>
          <a:bodyPr anchor="b"/>
          <a:lstStyle>
            <a:lvl1pPr algn="ctr">
              <a:defRPr/>
            </a:lvl1pPr>
          </a:lstStyle>
          <a:p>
            <a:r>
              <a:rPr lang="en-US"/>
              <a:t>Click to edit Master title style</a:t>
            </a:r>
          </a:p>
        </p:txBody>
      </p:sp>
      <p:sp>
        <p:nvSpPr>
          <p:cNvPr id="3" name="Content Placeholder 2"/>
          <p:cNvSpPr>
            <a:spLocks noGrp="1"/>
          </p:cNvSpPr>
          <p:nvPr>
            <p:ph sz="half" idx="1"/>
          </p:nvPr>
        </p:nvSpPr>
        <p:spPr>
          <a:xfrm>
            <a:off x="687679" y="1740973"/>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Internal</a:t>
            </a:r>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cxnSp>
        <p:nvCxnSpPr>
          <p:cNvPr id="10" name="Straight Connector 9">
            <a:extLst>
              <a:ext uri="{FF2B5EF4-FFF2-40B4-BE49-F238E27FC236}">
                <a16:creationId xmlns:a16="http://schemas.microsoft.com/office/drawing/2014/main" id="{A7A595EC-0361-49B6-81CA-04FD6F9F6BFF}"/>
              </a:ext>
            </a:extLst>
          </p:cNvPr>
          <p:cNvCxnSpPr>
            <a:cxnSpLocks/>
          </p:cNvCxnSpPr>
          <p:nvPr userDrawn="1"/>
        </p:nvCxnSpPr>
        <p:spPr>
          <a:xfrm>
            <a:off x="4571404" y="1467983"/>
            <a:ext cx="0" cy="2922359"/>
          </a:xfrm>
          <a:prstGeom prst="line">
            <a:avLst/>
          </a:prstGeom>
          <a:ln w="60325"/>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08AEB628-9048-44D7-B88A-F308ABAC721A}"/>
              </a:ext>
            </a:extLst>
          </p:cNvPr>
          <p:cNvSpPr>
            <a:spLocks noGrp="1"/>
          </p:cNvSpPr>
          <p:nvPr>
            <p:ph type="body" sz="quarter" idx="13"/>
          </p:nvPr>
        </p:nvSpPr>
        <p:spPr>
          <a:xfrm>
            <a:off x="687679" y="1397281"/>
            <a:ext cx="3546140" cy="286554"/>
          </a:xfrm>
        </p:spPr>
        <p:txBody>
          <a:bodyPr anchor="b">
            <a:noAutofit/>
          </a:bodyPr>
          <a:lstStyle>
            <a:lvl1pPr marL="0" indent="0">
              <a:buNone/>
              <a:defRPr sz="1600" b="1"/>
            </a:lvl1pPr>
          </a:lstStyle>
          <a:p>
            <a:pPr lvl="0"/>
            <a:r>
              <a:rPr lang="en-US"/>
              <a:t>Click to edit Master text styles</a:t>
            </a:r>
          </a:p>
        </p:txBody>
      </p:sp>
      <p:sp>
        <p:nvSpPr>
          <p:cNvPr id="12" name="Content Placeholder 2">
            <a:extLst>
              <a:ext uri="{FF2B5EF4-FFF2-40B4-BE49-F238E27FC236}">
                <a16:creationId xmlns:a16="http://schemas.microsoft.com/office/drawing/2014/main" id="{35C0175F-E72E-49A4-8ADB-2C14D8F09A33}"/>
              </a:ext>
            </a:extLst>
          </p:cNvPr>
          <p:cNvSpPr>
            <a:spLocks noGrp="1"/>
          </p:cNvSpPr>
          <p:nvPr>
            <p:ph sz="half" idx="15"/>
          </p:nvPr>
        </p:nvSpPr>
        <p:spPr>
          <a:xfrm>
            <a:off x="687679" y="3372975"/>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13" name="Text Placeholder 14">
            <a:extLst>
              <a:ext uri="{FF2B5EF4-FFF2-40B4-BE49-F238E27FC236}">
                <a16:creationId xmlns:a16="http://schemas.microsoft.com/office/drawing/2014/main" id="{9E4EF244-21DA-47B2-8F0D-BEEF10E60930}"/>
              </a:ext>
            </a:extLst>
          </p:cNvPr>
          <p:cNvSpPr>
            <a:spLocks noGrp="1"/>
          </p:cNvSpPr>
          <p:nvPr>
            <p:ph type="body" sz="quarter" idx="16"/>
          </p:nvPr>
        </p:nvSpPr>
        <p:spPr>
          <a:xfrm>
            <a:off x="687679" y="3043572"/>
            <a:ext cx="3546140" cy="286554"/>
          </a:xfrm>
        </p:spPr>
        <p:txBody>
          <a:bodyPr anchor="b">
            <a:noAutofit/>
          </a:bodyPr>
          <a:lstStyle>
            <a:lvl1pPr marL="0" indent="0">
              <a:buNone/>
              <a:defRPr sz="1600" b="1"/>
            </a:lvl1pPr>
          </a:lstStyle>
          <a:p>
            <a:pPr lvl="0"/>
            <a:r>
              <a:rPr lang="en-US"/>
              <a:t>Click to edit Master text styles</a:t>
            </a:r>
          </a:p>
        </p:txBody>
      </p:sp>
      <p:sp>
        <p:nvSpPr>
          <p:cNvPr id="17" name="Content Placeholder 2">
            <a:extLst>
              <a:ext uri="{FF2B5EF4-FFF2-40B4-BE49-F238E27FC236}">
                <a16:creationId xmlns:a16="http://schemas.microsoft.com/office/drawing/2014/main" id="{407EE901-C051-4CE5-ABB1-E28A86379199}"/>
              </a:ext>
            </a:extLst>
          </p:cNvPr>
          <p:cNvSpPr>
            <a:spLocks noGrp="1"/>
          </p:cNvSpPr>
          <p:nvPr>
            <p:ph sz="half" idx="17"/>
          </p:nvPr>
        </p:nvSpPr>
        <p:spPr>
          <a:xfrm>
            <a:off x="4908991" y="1740973"/>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18" name="Text Placeholder 14">
            <a:extLst>
              <a:ext uri="{FF2B5EF4-FFF2-40B4-BE49-F238E27FC236}">
                <a16:creationId xmlns:a16="http://schemas.microsoft.com/office/drawing/2014/main" id="{A765E099-EC2C-4736-BCF0-CC11535AC0E4}"/>
              </a:ext>
            </a:extLst>
          </p:cNvPr>
          <p:cNvSpPr>
            <a:spLocks noGrp="1"/>
          </p:cNvSpPr>
          <p:nvPr>
            <p:ph type="body" sz="quarter" idx="18"/>
          </p:nvPr>
        </p:nvSpPr>
        <p:spPr>
          <a:xfrm>
            <a:off x="4908991" y="1397281"/>
            <a:ext cx="3546140" cy="286554"/>
          </a:xfrm>
        </p:spPr>
        <p:txBody>
          <a:bodyPr anchor="b">
            <a:noAutofit/>
          </a:bodyPr>
          <a:lstStyle>
            <a:lvl1pPr marL="0" indent="0">
              <a:buNone/>
              <a:defRPr sz="1600" b="1"/>
            </a:lvl1pPr>
          </a:lstStyle>
          <a:p>
            <a:pPr lvl="0"/>
            <a:r>
              <a:rPr lang="en-US"/>
              <a:t>Click to edit Master text styles</a:t>
            </a:r>
          </a:p>
        </p:txBody>
      </p:sp>
      <p:sp>
        <p:nvSpPr>
          <p:cNvPr id="19" name="Content Placeholder 2">
            <a:extLst>
              <a:ext uri="{FF2B5EF4-FFF2-40B4-BE49-F238E27FC236}">
                <a16:creationId xmlns:a16="http://schemas.microsoft.com/office/drawing/2014/main" id="{ECBDDE2C-2C54-450D-8BA1-3C6DC3BB929E}"/>
              </a:ext>
            </a:extLst>
          </p:cNvPr>
          <p:cNvSpPr>
            <a:spLocks noGrp="1"/>
          </p:cNvSpPr>
          <p:nvPr>
            <p:ph sz="half" idx="19"/>
          </p:nvPr>
        </p:nvSpPr>
        <p:spPr>
          <a:xfrm>
            <a:off x="4908991" y="3372975"/>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20" name="Text Placeholder 14">
            <a:extLst>
              <a:ext uri="{FF2B5EF4-FFF2-40B4-BE49-F238E27FC236}">
                <a16:creationId xmlns:a16="http://schemas.microsoft.com/office/drawing/2014/main" id="{8ACC96FB-9901-410D-9DD5-2E2E794E0C54}"/>
              </a:ext>
            </a:extLst>
          </p:cNvPr>
          <p:cNvSpPr>
            <a:spLocks noGrp="1"/>
          </p:cNvSpPr>
          <p:nvPr>
            <p:ph type="body" sz="quarter" idx="20"/>
          </p:nvPr>
        </p:nvSpPr>
        <p:spPr>
          <a:xfrm>
            <a:off x="4908991" y="3043572"/>
            <a:ext cx="3546140" cy="286554"/>
          </a:xfrm>
        </p:spPr>
        <p:txBody>
          <a:bodyPr anchor="b">
            <a:noAutofit/>
          </a:bodyPr>
          <a:lstStyle>
            <a:lvl1pPr marL="0" indent="0">
              <a:buNone/>
              <a:defRPr sz="1600" b="1"/>
            </a:lvl1pPr>
          </a:lstStyle>
          <a:p>
            <a:pPr lvl="0"/>
            <a:r>
              <a:rPr lang="en-US"/>
              <a:t>Click to edit Master text styles</a:t>
            </a:r>
          </a:p>
        </p:txBody>
      </p:sp>
    </p:spTree>
    <p:extLst>
      <p:ext uri="{BB962C8B-B14F-4D97-AF65-F5344CB8AC3E}">
        <p14:creationId xmlns:p14="http://schemas.microsoft.com/office/powerpoint/2010/main" val="14130594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tel og 3 innholdsdeler">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Internal</a:t>
            </a:r>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sp>
        <p:nvSpPr>
          <p:cNvPr id="13" name="Text Placeholder 14">
            <a:extLst>
              <a:ext uri="{FF2B5EF4-FFF2-40B4-BE49-F238E27FC236}">
                <a16:creationId xmlns:a16="http://schemas.microsoft.com/office/drawing/2014/main" id="{9E4EF244-21DA-47B2-8F0D-BEEF10E60930}"/>
              </a:ext>
            </a:extLst>
          </p:cNvPr>
          <p:cNvSpPr>
            <a:spLocks noGrp="1"/>
          </p:cNvSpPr>
          <p:nvPr>
            <p:ph type="body" sz="quarter" idx="16"/>
          </p:nvPr>
        </p:nvSpPr>
        <p:spPr>
          <a:xfrm>
            <a:off x="687678" y="2662409"/>
            <a:ext cx="2060642" cy="286554"/>
          </a:xfrm>
        </p:spPr>
        <p:txBody>
          <a:bodyPr anchor="b">
            <a:noAutofit/>
          </a:bodyPr>
          <a:lstStyle>
            <a:lvl1pPr marL="0" indent="0">
              <a:buNone/>
              <a:defRPr sz="1600" b="1"/>
            </a:lvl1pPr>
          </a:lstStyle>
          <a:p>
            <a:pPr lvl="0"/>
            <a:r>
              <a:rPr lang="en-US"/>
              <a:t>Click to edit Master text styles</a:t>
            </a:r>
          </a:p>
        </p:txBody>
      </p:sp>
      <p:sp>
        <p:nvSpPr>
          <p:cNvPr id="9" name="Picture Placeholder 8">
            <a:extLst>
              <a:ext uri="{FF2B5EF4-FFF2-40B4-BE49-F238E27FC236}">
                <a16:creationId xmlns:a16="http://schemas.microsoft.com/office/drawing/2014/main" id="{804F1AA4-191D-4952-B274-A780EDB74A5E}"/>
              </a:ext>
            </a:extLst>
          </p:cNvPr>
          <p:cNvSpPr>
            <a:spLocks noGrp="1"/>
          </p:cNvSpPr>
          <p:nvPr>
            <p:ph type="pic" sz="quarter" idx="17"/>
          </p:nvPr>
        </p:nvSpPr>
        <p:spPr>
          <a:xfrm>
            <a:off x="1305469" y="1589558"/>
            <a:ext cx="825061" cy="828167"/>
          </a:xfrm>
        </p:spPr>
        <p:txBody>
          <a:bodyPr/>
          <a:lstStyle/>
          <a:p>
            <a:r>
              <a:rPr lang="en-US"/>
              <a:t>Click icon to add picture</a:t>
            </a:r>
          </a:p>
        </p:txBody>
      </p:sp>
      <p:sp>
        <p:nvSpPr>
          <p:cNvPr id="21" name="Picture Placeholder 8">
            <a:extLst>
              <a:ext uri="{FF2B5EF4-FFF2-40B4-BE49-F238E27FC236}">
                <a16:creationId xmlns:a16="http://schemas.microsoft.com/office/drawing/2014/main" id="{6ABA2140-291F-484E-A46C-B34C10995B67}"/>
              </a:ext>
            </a:extLst>
          </p:cNvPr>
          <p:cNvSpPr>
            <a:spLocks noGrp="1"/>
          </p:cNvSpPr>
          <p:nvPr>
            <p:ph type="pic" sz="quarter" idx="18"/>
          </p:nvPr>
        </p:nvSpPr>
        <p:spPr>
          <a:xfrm>
            <a:off x="4016760" y="1589558"/>
            <a:ext cx="825061" cy="828167"/>
          </a:xfrm>
        </p:spPr>
        <p:txBody>
          <a:bodyPr/>
          <a:lstStyle/>
          <a:p>
            <a:r>
              <a:rPr lang="en-US"/>
              <a:t>Click icon to add picture</a:t>
            </a:r>
          </a:p>
        </p:txBody>
      </p:sp>
      <p:sp>
        <p:nvSpPr>
          <p:cNvPr id="22" name="Picture Placeholder 8">
            <a:extLst>
              <a:ext uri="{FF2B5EF4-FFF2-40B4-BE49-F238E27FC236}">
                <a16:creationId xmlns:a16="http://schemas.microsoft.com/office/drawing/2014/main" id="{577E2EC7-038C-494F-8D0B-691B0805A455}"/>
              </a:ext>
            </a:extLst>
          </p:cNvPr>
          <p:cNvSpPr>
            <a:spLocks noGrp="1"/>
          </p:cNvSpPr>
          <p:nvPr>
            <p:ph type="pic" sz="quarter" idx="19"/>
          </p:nvPr>
        </p:nvSpPr>
        <p:spPr>
          <a:xfrm>
            <a:off x="6728051" y="1589558"/>
            <a:ext cx="825061" cy="828167"/>
          </a:xfrm>
        </p:spPr>
        <p:txBody>
          <a:bodyPr/>
          <a:lstStyle/>
          <a:p>
            <a:r>
              <a:rPr lang="en-US"/>
              <a:t>Click icon to add picture</a:t>
            </a:r>
          </a:p>
        </p:txBody>
      </p:sp>
      <p:sp>
        <p:nvSpPr>
          <p:cNvPr id="24" name="Text Placeholder 14">
            <a:extLst>
              <a:ext uri="{FF2B5EF4-FFF2-40B4-BE49-F238E27FC236}">
                <a16:creationId xmlns:a16="http://schemas.microsoft.com/office/drawing/2014/main" id="{5D0DEB43-7FB7-4048-895E-21C26525E30B}"/>
              </a:ext>
            </a:extLst>
          </p:cNvPr>
          <p:cNvSpPr>
            <a:spLocks noGrp="1"/>
          </p:cNvSpPr>
          <p:nvPr>
            <p:ph type="body" sz="quarter" idx="21"/>
          </p:nvPr>
        </p:nvSpPr>
        <p:spPr>
          <a:xfrm>
            <a:off x="3398969" y="2662408"/>
            <a:ext cx="2060642" cy="286554"/>
          </a:xfrm>
        </p:spPr>
        <p:txBody>
          <a:bodyPr anchor="b">
            <a:noAutofit/>
          </a:bodyPr>
          <a:lstStyle>
            <a:lvl1pPr marL="0" indent="0">
              <a:buNone/>
              <a:defRPr sz="1600" b="1"/>
            </a:lvl1pPr>
          </a:lstStyle>
          <a:p>
            <a:pPr lvl="0"/>
            <a:r>
              <a:rPr lang="en-US"/>
              <a:t>Click to edit Master text styles</a:t>
            </a:r>
          </a:p>
        </p:txBody>
      </p:sp>
      <p:sp>
        <p:nvSpPr>
          <p:cNvPr id="26" name="Text Placeholder 14">
            <a:extLst>
              <a:ext uri="{FF2B5EF4-FFF2-40B4-BE49-F238E27FC236}">
                <a16:creationId xmlns:a16="http://schemas.microsoft.com/office/drawing/2014/main" id="{D7FCC674-D252-4B15-B916-261003ECB4AB}"/>
              </a:ext>
            </a:extLst>
          </p:cNvPr>
          <p:cNvSpPr>
            <a:spLocks noGrp="1"/>
          </p:cNvSpPr>
          <p:nvPr>
            <p:ph type="body" sz="quarter" idx="23"/>
          </p:nvPr>
        </p:nvSpPr>
        <p:spPr>
          <a:xfrm>
            <a:off x="6110260" y="2662409"/>
            <a:ext cx="2060642" cy="286554"/>
          </a:xfrm>
        </p:spPr>
        <p:txBody>
          <a:bodyPr anchor="b">
            <a:noAutofit/>
          </a:bodyPr>
          <a:lstStyle>
            <a:lvl1pPr marL="0" indent="0">
              <a:buNone/>
              <a:defRPr sz="1600" b="1"/>
            </a:lvl1pPr>
          </a:lstStyle>
          <a:p>
            <a:pPr lvl="0"/>
            <a:r>
              <a:rPr lang="en-US"/>
              <a:t>Click to edit Master text styles</a:t>
            </a:r>
          </a:p>
        </p:txBody>
      </p:sp>
      <p:sp>
        <p:nvSpPr>
          <p:cNvPr id="11" name="Text Placeholder 10">
            <a:extLst>
              <a:ext uri="{FF2B5EF4-FFF2-40B4-BE49-F238E27FC236}">
                <a16:creationId xmlns:a16="http://schemas.microsoft.com/office/drawing/2014/main" id="{9191F145-A3F9-4328-A078-A9D1A2785309}"/>
              </a:ext>
            </a:extLst>
          </p:cNvPr>
          <p:cNvSpPr>
            <a:spLocks noGrp="1"/>
          </p:cNvSpPr>
          <p:nvPr>
            <p:ph type="body" sz="quarter" idx="24"/>
          </p:nvPr>
        </p:nvSpPr>
        <p:spPr>
          <a:xfrm>
            <a:off x="687678" y="3000563"/>
            <a:ext cx="2060642"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sp>
        <p:nvSpPr>
          <p:cNvPr id="14" name="Text Placeholder 13">
            <a:extLst>
              <a:ext uri="{FF2B5EF4-FFF2-40B4-BE49-F238E27FC236}">
                <a16:creationId xmlns:a16="http://schemas.microsoft.com/office/drawing/2014/main" id="{52FD7CC3-59D3-45DD-AF61-A26D138927C2}"/>
              </a:ext>
            </a:extLst>
          </p:cNvPr>
          <p:cNvSpPr>
            <a:spLocks noGrp="1"/>
          </p:cNvSpPr>
          <p:nvPr>
            <p:ph type="body" sz="quarter" idx="25"/>
          </p:nvPr>
        </p:nvSpPr>
        <p:spPr>
          <a:xfrm>
            <a:off x="3398969" y="3000563"/>
            <a:ext cx="2060642"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sp>
        <p:nvSpPr>
          <p:cNvPr id="27" name="Text Placeholder 26">
            <a:extLst>
              <a:ext uri="{FF2B5EF4-FFF2-40B4-BE49-F238E27FC236}">
                <a16:creationId xmlns:a16="http://schemas.microsoft.com/office/drawing/2014/main" id="{560EAC6D-34A6-4BA8-B83E-6A9AC8CD9667}"/>
              </a:ext>
            </a:extLst>
          </p:cNvPr>
          <p:cNvSpPr>
            <a:spLocks noGrp="1"/>
          </p:cNvSpPr>
          <p:nvPr>
            <p:ph type="body" sz="quarter" idx="26"/>
          </p:nvPr>
        </p:nvSpPr>
        <p:spPr>
          <a:xfrm>
            <a:off x="6110260" y="3000563"/>
            <a:ext cx="2060642"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sp>
        <p:nvSpPr>
          <p:cNvPr id="17" name="Title 1">
            <a:extLst>
              <a:ext uri="{FF2B5EF4-FFF2-40B4-BE49-F238E27FC236}">
                <a16:creationId xmlns:a16="http://schemas.microsoft.com/office/drawing/2014/main" id="{30F08BE8-A0C7-44D1-86AA-68A6E4EE7D7E}"/>
              </a:ext>
            </a:extLst>
          </p:cNvPr>
          <p:cNvSpPr>
            <a:spLocks noGrp="1"/>
          </p:cNvSpPr>
          <p:nvPr>
            <p:ph type="title"/>
          </p:nvPr>
        </p:nvSpPr>
        <p:spPr>
          <a:xfrm>
            <a:off x="687679" y="480990"/>
            <a:ext cx="7767215" cy="476147"/>
          </a:xfrm>
        </p:spPr>
        <p:txBody>
          <a:bodyPr anchor="b"/>
          <a:lstStyle>
            <a:lvl1pPr algn="ctr">
              <a:defRPr/>
            </a:lvl1pPr>
          </a:lstStyle>
          <a:p>
            <a:r>
              <a:rPr lang="en-US"/>
              <a:t>Click to edit Master title style</a:t>
            </a:r>
          </a:p>
        </p:txBody>
      </p:sp>
    </p:spTree>
    <p:extLst>
      <p:ext uri="{BB962C8B-B14F-4D97-AF65-F5344CB8AC3E}">
        <p14:creationId xmlns:p14="http://schemas.microsoft.com/office/powerpoint/2010/main" val="16013360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Internal</a:t>
            </a:r>
          </a:p>
        </p:txBody>
      </p:sp>
      <p:sp>
        <p:nvSpPr>
          <p:cNvPr id="4" name="Slide Number Placeholder 3"/>
          <p:cNvSpPr>
            <a:spLocks noGrp="1"/>
          </p:cNvSpPr>
          <p:nvPr>
            <p:ph type="sldNum" sz="quarter" idx="12"/>
          </p:nvPr>
        </p:nvSpPr>
        <p:spPr/>
        <p:txBody>
          <a:bodyPr/>
          <a:lstStyle/>
          <a:p>
            <a:fld id="{6E737AD4-1126-44A2-B8AE-C24508FC0AC9}" type="slidenum">
              <a:rPr lang="en-US" smtClean="0"/>
              <a:t>‹#›</a:t>
            </a:fld>
            <a:endParaRPr lang="en-US"/>
          </a:p>
        </p:txBody>
      </p:sp>
    </p:spTree>
    <p:extLst>
      <p:ext uri="{BB962C8B-B14F-4D97-AF65-F5344CB8AC3E}">
        <p14:creationId xmlns:p14="http://schemas.microsoft.com/office/powerpoint/2010/main" val="13349668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B401202-623C-4D19-ADFD-4F22985ECE9D}"/>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207" name="think-cell Slide" r:id="rId5" imgW="415" imgH="416" progId="TCLayout.ActiveDocument.1">
                  <p:embed/>
                </p:oleObj>
              </mc:Choice>
              <mc:Fallback>
                <p:oleObj name="think-cell Slide" r:id="rId5" imgW="415" imgH="416" progId="TCLayout.ActiveDocument.1">
                  <p:embed/>
                  <p:pic>
                    <p:nvPicPr>
                      <p:cNvPr id="9" name="Object 8" hidden="1">
                        <a:extLst>
                          <a:ext uri="{FF2B5EF4-FFF2-40B4-BE49-F238E27FC236}">
                            <a16:creationId xmlns:a16="http://schemas.microsoft.com/office/drawing/2014/main" id="{CB401202-623C-4D19-ADFD-4F22985ECE9D}"/>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5BC78A7-9288-4624-A947-CA26A99C6081}"/>
              </a:ext>
            </a:extLst>
          </p:cNvPr>
          <p:cNvSpPr/>
          <p:nvPr userDrawn="1">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latin typeface="Bahnschrift" panose="020B0502040204020203" pitchFamily="34" charset="0"/>
              <a:ea typeface="+mj-ea"/>
              <a:cs typeface="+mj-cs"/>
              <a:sym typeface="Bahnschrift" panose="020B0502040204020203" pitchFamily="34" charset="0"/>
            </a:endParaRPr>
          </a:p>
        </p:txBody>
      </p:sp>
      <p:sp>
        <p:nvSpPr>
          <p:cNvPr id="2" name="Rubrik 1"/>
          <p:cNvSpPr>
            <a:spLocks noGrp="1"/>
          </p:cNvSpPr>
          <p:nvPr>
            <p:ph type="title"/>
          </p:nvPr>
        </p:nvSpPr>
        <p:spPr>
          <a:xfrm>
            <a:off x="360419" y="502800"/>
            <a:ext cx="8329717" cy="491400"/>
          </a:xfrm>
          <a:prstGeom prst="rect">
            <a:avLst/>
          </a:prstGeom>
        </p:spPr>
        <p:txBody>
          <a:bodyPr/>
          <a:lstStyle>
            <a:lvl1pPr>
              <a:defRPr sz="2000" b="1">
                <a:solidFill>
                  <a:schemeClr val="tx2"/>
                </a:solidFill>
                <a:latin typeface="+mj-lt"/>
              </a:defRPr>
            </a:lvl1pPr>
          </a:lstStyle>
          <a:p>
            <a:r>
              <a:rPr lang="en-US"/>
              <a:t>Click to edit Master title style</a:t>
            </a:r>
            <a:endParaRPr lang="en-GB" dirty="0"/>
          </a:p>
        </p:txBody>
      </p:sp>
      <p:cxnSp>
        <p:nvCxnSpPr>
          <p:cNvPr id="6" name="Straight Connector 5">
            <a:extLst>
              <a:ext uri="{FF2B5EF4-FFF2-40B4-BE49-F238E27FC236}">
                <a16:creationId xmlns:a16="http://schemas.microsoft.com/office/drawing/2014/main" id="{28869ABA-A236-47BD-838B-98E48BAC12B3}"/>
              </a:ext>
            </a:extLst>
          </p:cNvPr>
          <p:cNvCxnSpPr>
            <a:cxnSpLocks/>
          </p:cNvCxnSpPr>
          <p:nvPr userDrawn="1"/>
        </p:nvCxnSpPr>
        <p:spPr>
          <a:xfrm>
            <a:off x="421030" y="412348"/>
            <a:ext cx="842058" cy="0"/>
          </a:xfrm>
          <a:prstGeom prst="line">
            <a:avLst/>
          </a:prstGeom>
          <a:ln w="76200"/>
        </p:spPr>
        <p:style>
          <a:lnRef idx="1">
            <a:schemeClr val="accent1"/>
          </a:lnRef>
          <a:fillRef idx="0">
            <a:schemeClr val="accent1"/>
          </a:fillRef>
          <a:effectRef idx="0">
            <a:schemeClr val="accent1"/>
          </a:effectRef>
          <a:fontRef idx="minor">
            <a:schemeClr val="tx1"/>
          </a:fontRef>
        </p:style>
      </p:cxnSp>
      <p:pic>
        <p:nvPicPr>
          <p:cNvPr id="7" name="Picture 2" descr="1EC4A5DF">
            <a:extLst>
              <a:ext uri="{FF2B5EF4-FFF2-40B4-BE49-F238E27FC236}">
                <a16:creationId xmlns:a16="http://schemas.microsoft.com/office/drawing/2014/main" id="{1297FDD6-635F-1D48-AD91-B932D85F0454}"/>
              </a:ext>
            </a:extLst>
          </p:cNvPr>
          <p:cNvPicPr>
            <a:picLocks noChangeAspect="1" noChangeArrowheads="1"/>
          </p:cNvPicPr>
          <p:nvPr userDrawn="1"/>
        </p:nvPicPr>
        <p:blipFill>
          <a:blip r:embed="rId7" r:link="rId8">
            <a:extLst>
              <a:ext uri="{28A0092B-C50C-407E-A947-70E740481C1C}">
                <a14:useLocalDpi xmlns:a14="http://schemas.microsoft.com/office/drawing/2010/main" val="0"/>
              </a:ext>
            </a:extLst>
          </a:blip>
          <a:srcRect/>
          <a:stretch>
            <a:fillRect/>
          </a:stretch>
        </p:blipFill>
        <p:spPr bwMode="auto">
          <a:xfrm>
            <a:off x="7791613" y="87458"/>
            <a:ext cx="1266825"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18989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56A57D0-CBB9-954F-A603-A247C7B90B97}" type="datetime1">
              <a:t>10/27/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333133"/>
            <a:ext cx="7918776" cy="286554"/>
          </a:xfrm>
        </p:spPr>
        <p:txBody>
          <a:bodyPr anchor="b">
            <a:noAutofit/>
          </a:bodyPr>
          <a:lstStyle>
            <a:lvl1pPr marL="0" indent="0">
              <a:buNone/>
              <a:defRPr sz="1050" cap="all" baseline="0">
                <a:solidFill>
                  <a:schemeClr val="accent1"/>
                </a:solidFill>
              </a:defRPr>
            </a:lvl1pPr>
          </a:lstStyle>
          <a:p>
            <a:pPr lvl="0"/>
            <a:r>
              <a:rPr lang="en-GB"/>
              <a:t>Click to edit Master text styles</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2726"/>
            <a:ext cx="7918776" cy="3240000"/>
          </a:xfrm>
          <a:prstGeom prst="rect">
            <a:avLst/>
          </a:prstGeom>
        </p:spPr>
        <p:txBody>
          <a:bodyPr lIns="91440" tIns="45720" rIns="91440" bIns="45720"/>
          <a:lstStyle>
            <a:lvl1pPr>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itle 1">
            <a:extLst>
              <a:ext uri="{FF2B5EF4-FFF2-40B4-BE49-F238E27FC236}">
                <a16:creationId xmlns:a16="http://schemas.microsoft.com/office/drawing/2014/main" id="{C9EE5AB5-B854-486D-B12E-0B5DAA704D85}"/>
              </a:ext>
            </a:extLst>
          </p:cNvPr>
          <p:cNvSpPr>
            <a:spLocks noGrp="1"/>
          </p:cNvSpPr>
          <p:nvPr>
            <p:ph type="title"/>
          </p:nvPr>
        </p:nvSpPr>
        <p:spPr>
          <a:xfrm>
            <a:off x="547759" y="628858"/>
            <a:ext cx="7918776" cy="476147"/>
          </a:xfrm>
        </p:spPr>
        <p:txBody>
          <a:bodyPr/>
          <a:lstStyle>
            <a:lvl1pPr>
              <a:defRPr/>
            </a:lvl1pPr>
          </a:lstStyle>
          <a:p>
            <a:r>
              <a:rPr lang="en-GB"/>
              <a:t>Click to edit Master title style</a:t>
            </a:r>
            <a:endParaRPr lang="en-US"/>
          </a:p>
        </p:txBody>
      </p:sp>
    </p:spTree>
    <p:extLst>
      <p:ext uri="{BB962C8B-B14F-4D97-AF65-F5344CB8AC3E}">
        <p14:creationId xmlns:p14="http://schemas.microsoft.com/office/powerpoint/2010/main" val="9533976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3"/>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15" indent="0" algn="ctr">
              <a:buNone/>
              <a:defRPr sz="1500"/>
            </a:lvl2pPr>
            <a:lvl3pPr marL="685628" indent="0" algn="ctr">
              <a:buNone/>
              <a:defRPr sz="1350"/>
            </a:lvl3pPr>
            <a:lvl4pPr marL="1028443" indent="0" algn="ctr">
              <a:buNone/>
              <a:defRPr sz="1200"/>
            </a:lvl4pPr>
            <a:lvl5pPr marL="1371257" indent="0" algn="ctr">
              <a:buNone/>
              <a:defRPr sz="1200"/>
            </a:lvl5pPr>
            <a:lvl6pPr marL="1714072" indent="0" algn="ctr">
              <a:buNone/>
              <a:defRPr sz="1200"/>
            </a:lvl6pPr>
            <a:lvl7pPr marL="2056885" indent="0" algn="ctr">
              <a:buNone/>
              <a:defRPr sz="1200"/>
            </a:lvl7pPr>
            <a:lvl8pPr marL="2399700" indent="0" algn="ctr">
              <a:buNone/>
              <a:defRPr sz="1200"/>
            </a:lvl8pPr>
            <a:lvl9pPr marL="2742515" indent="0" algn="ctr">
              <a:buNone/>
              <a:defRPr sz="1200"/>
            </a:lvl9pPr>
          </a:lstStyle>
          <a:p>
            <a:r>
              <a:rPr lang="en-US"/>
              <a:t>Subtitle</a:t>
            </a:r>
          </a:p>
        </p:txBody>
      </p:sp>
      <p:sp>
        <p:nvSpPr>
          <p:cNvPr id="4" name="Date Placeholder 3"/>
          <p:cNvSpPr>
            <a:spLocks noGrp="1"/>
          </p:cNvSpPr>
          <p:nvPr>
            <p:ph type="dt" sz="half" idx="10"/>
          </p:nvPr>
        </p:nvSpPr>
        <p:spPr>
          <a:xfrm>
            <a:off x="7051881" y="216157"/>
            <a:ext cx="1463469" cy="273844"/>
          </a:xfrm>
        </p:spPr>
        <p:txBody>
          <a:bodyPr lIns="0" tIns="11430" rIns="0" bIns="11430"/>
          <a:lstStyle>
            <a:lvl1pPr algn="r">
              <a:defRPr sz="1400">
                <a:solidFill>
                  <a:schemeClr val="bg1"/>
                </a:solidFill>
              </a:defRPr>
            </a:lvl1pPr>
          </a:lstStyle>
          <a:p>
            <a:endParaRPr lang="en-US"/>
          </a:p>
        </p:txBody>
      </p:sp>
      <p:sp>
        <p:nvSpPr>
          <p:cNvPr id="5" name="Footer Placeholder 4"/>
          <p:cNvSpPr>
            <a:spLocks noGrp="1"/>
          </p:cNvSpPr>
          <p:nvPr>
            <p:ph type="ftr" sz="quarter" idx="11"/>
          </p:nvPr>
        </p:nvSpPr>
        <p:spPr>
          <a:xfrm>
            <a:off x="4571999" y="216157"/>
            <a:ext cx="2431705" cy="273844"/>
          </a:xfrm>
        </p:spPr>
        <p:txBody>
          <a:bodyPr lIns="22860" tIns="11430" rIns="22860" bIns="11430"/>
          <a:lstStyle>
            <a:lvl1pPr algn="l">
              <a:defRPr sz="1400">
                <a:solidFill>
                  <a:schemeClr val="bg1"/>
                </a:solidFill>
              </a:defRPr>
            </a:lvl1pPr>
          </a:lstStyle>
          <a:p>
            <a:r>
              <a:rPr lang="en-US"/>
              <a:t>Internal</a:t>
            </a:r>
          </a:p>
        </p:txBody>
      </p:sp>
      <p:sp>
        <p:nvSpPr>
          <p:cNvPr id="6" name="Slide Number Placeholder 5"/>
          <p:cNvSpPr>
            <a:spLocks noGrp="1"/>
          </p:cNvSpPr>
          <p:nvPr>
            <p:ph type="sldNum" sz="quarter" idx="12"/>
          </p:nvPr>
        </p:nvSpPr>
        <p:spPr/>
        <p:txBody>
          <a:bodyPr lIns="22860" tIns="11430" rIns="22860" bIns="11430"/>
          <a:lstStyle>
            <a:lvl1pPr>
              <a:defRPr>
                <a:solidFill>
                  <a:schemeClr val="bg1"/>
                </a:solidFill>
              </a:defRPr>
            </a:lvl1pPr>
          </a:lstStyle>
          <a:p>
            <a:fld id="{6E737AD4-1126-44A2-B8AE-C24508FC0AC9}" type="slidenum">
              <a:rPr lang="en-US" smtClean="0"/>
              <a:pPr/>
              <a:t>‹#›</a:t>
            </a:fld>
            <a:endParaRPr lang="en-US"/>
          </a:p>
        </p:txBody>
      </p:sp>
      <p:pic>
        <p:nvPicPr>
          <p:cNvPr id="8" name="Graphic 7">
            <a:extLst>
              <a:ext uri="{FF2B5EF4-FFF2-40B4-BE49-F238E27FC236}">
                <a16:creationId xmlns:a16="http://schemas.microsoft.com/office/drawing/2014/main" id="{CB73EF2C-80D4-604C-A01C-82D2581B2D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8325" y="1323507"/>
            <a:ext cx="3279802" cy="658815"/>
          </a:xfrm>
          <a:prstGeom prst="rect">
            <a:avLst/>
          </a:prstGeom>
        </p:spPr>
      </p:pic>
    </p:spTree>
    <p:extLst>
      <p:ext uri="{BB962C8B-B14F-4D97-AF65-F5344CB8AC3E}">
        <p14:creationId xmlns:p14="http://schemas.microsoft.com/office/powerpoint/2010/main" val="386615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 DarkForest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3"/>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15" indent="0" algn="ctr">
              <a:buNone/>
              <a:defRPr sz="1500"/>
            </a:lvl2pPr>
            <a:lvl3pPr marL="685628" indent="0" algn="ctr">
              <a:buNone/>
              <a:defRPr sz="1350"/>
            </a:lvl3pPr>
            <a:lvl4pPr marL="1028443" indent="0" algn="ctr">
              <a:buNone/>
              <a:defRPr sz="1200"/>
            </a:lvl4pPr>
            <a:lvl5pPr marL="1371257" indent="0" algn="ctr">
              <a:buNone/>
              <a:defRPr sz="1200"/>
            </a:lvl5pPr>
            <a:lvl6pPr marL="1714072" indent="0" algn="ctr">
              <a:buNone/>
              <a:defRPr sz="1200"/>
            </a:lvl6pPr>
            <a:lvl7pPr marL="2056885" indent="0" algn="ctr">
              <a:buNone/>
              <a:defRPr sz="1200"/>
            </a:lvl7pPr>
            <a:lvl8pPr marL="2399700" indent="0" algn="ctr">
              <a:buNone/>
              <a:defRPr sz="1200"/>
            </a:lvl8pPr>
            <a:lvl9pPr marL="2742515" indent="0" algn="ctr">
              <a:buNone/>
              <a:defRPr sz="1200"/>
            </a:lvl9pPr>
          </a:lstStyle>
          <a:p>
            <a:r>
              <a:rPr lang="en-US"/>
              <a:t>Subtitle</a:t>
            </a:r>
          </a:p>
        </p:txBody>
      </p:sp>
      <p:sp>
        <p:nvSpPr>
          <p:cNvPr id="4" name="Date Placeholder 3"/>
          <p:cNvSpPr>
            <a:spLocks noGrp="1"/>
          </p:cNvSpPr>
          <p:nvPr>
            <p:ph type="dt" sz="half" idx="10"/>
          </p:nvPr>
        </p:nvSpPr>
        <p:spPr>
          <a:xfrm>
            <a:off x="4572000" y="216157"/>
            <a:ext cx="1463469" cy="273844"/>
          </a:xfrm>
        </p:spPr>
        <p:txBody>
          <a:bodyPr lIns="0" tIns="11430" rIns="0" bIns="11430"/>
          <a:lstStyle>
            <a:lvl1pPr algn="l">
              <a:defRPr sz="1400">
                <a:solidFill>
                  <a:schemeClr val="bg1"/>
                </a:solidFill>
              </a:defRPr>
            </a:lvl1pPr>
          </a:lstStyle>
          <a:p>
            <a:fld id="{5DCC52BC-A0BA-194D-8BEE-D45633F34F21}" type="datetime1">
              <a:t>10/27/2020</a:t>
            </a:fld>
            <a:endParaRPr lang="en-US"/>
          </a:p>
        </p:txBody>
      </p:sp>
      <p:pic>
        <p:nvPicPr>
          <p:cNvPr id="9" name="Graphic 8">
            <a:extLst>
              <a:ext uri="{FF2B5EF4-FFF2-40B4-BE49-F238E27FC236}">
                <a16:creationId xmlns:a16="http://schemas.microsoft.com/office/drawing/2014/main" id="{6B3DB90B-999F-48DC-BBF7-B18228CEA3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8325" y="1323506"/>
            <a:ext cx="3279802" cy="658816"/>
          </a:xfrm>
          <a:prstGeom prst="rect">
            <a:avLst/>
          </a:prstGeom>
        </p:spPr>
      </p:pic>
    </p:spTree>
    <p:extLst>
      <p:ext uri="{BB962C8B-B14F-4D97-AF65-F5344CB8AC3E}">
        <p14:creationId xmlns:p14="http://schemas.microsoft.com/office/powerpoint/2010/main" val="28415873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3"/>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15" indent="0" algn="ctr">
              <a:buNone/>
              <a:defRPr sz="1500"/>
            </a:lvl2pPr>
            <a:lvl3pPr marL="685628" indent="0" algn="ctr">
              <a:buNone/>
              <a:defRPr sz="1350"/>
            </a:lvl3pPr>
            <a:lvl4pPr marL="1028443" indent="0" algn="ctr">
              <a:buNone/>
              <a:defRPr sz="1200"/>
            </a:lvl4pPr>
            <a:lvl5pPr marL="1371257" indent="0" algn="ctr">
              <a:buNone/>
              <a:defRPr sz="1200"/>
            </a:lvl5pPr>
            <a:lvl6pPr marL="1714072" indent="0" algn="ctr">
              <a:buNone/>
              <a:defRPr sz="1200"/>
            </a:lvl6pPr>
            <a:lvl7pPr marL="2056885" indent="0" algn="ctr">
              <a:buNone/>
              <a:defRPr sz="1200"/>
            </a:lvl7pPr>
            <a:lvl8pPr marL="2399700" indent="0" algn="ctr">
              <a:buNone/>
              <a:defRPr sz="1200"/>
            </a:lvl8pPr>
            <a:lvl9pPr marL="2742515" indent="0" algn="ctr">
              <a:buNone/>
              <a:defRPr sz="1200"/>
            </a:lvl9pPr>
          </a:lstStyle>
          <a:p>
            <a:r>
              <a:rPr lang="en-US"/>
              <a:t>Subtitle</a:t>
            </a:r>
          </a:p>
        </p:txBody>
      </p:sp>
      <p:sp>
        <p:nvSpPr>
          <p:cNvPr id="4" name="Date Placeholder 3"/>
          <p:cNvSpPr>
            <a:spLocks noGrp="1"/>
          </p:cNvSpPr>
          <p:nvPr>
            <p:ph type="dt" sz="half" idx="10"/>
          </p:nvPr>
        </p:nvSpPr>
        <p:spPr>
          <a:xfrm>
            <a:off x="7051881" y="216157"/>
            <a:ext cx="1463469" cy="273844"/>
          </a:xfrm>
        </p:spPr>
        <p:txBody>
          <a:bodyPr lIns="0" tIns="11430" rIns="0" bIns="11430"/>
          <a:lstStyle>
            <a:lvl1pPr algn="r">
              <a:defRPr sz="1400">
                <a:solidFill>
                  <a:schemeClr val="bg1"/>
                </a:solidFill>
              </a:defRPr>
            </a:lvl1pPr>
          </a:lstStyle>
          <a:p>
            <a:endParaRPr lang="en-US"/>
          </a:p>
        </p:txBody>
      </p:sp>
      <p:sp>
        <p:nvSpPr>
          <p:cNvPr id="5" name="Footer Placeholder 4"/>
          <p:cNvSpPr>
            <a:spLocks noGrp="1"/>
          </p:cNvSpPr>
          <p:nvPr>
            <p:ph type="ftr" sz="quarter" idx="11"/>
          </p:nvPr>
        </p:nvSpPr>
        <p:spPr>
          <a:xfrm>
            <a:off x="4571999" y="216157"/>
            <a:ext cx="2431705" cy="273844"/>
          </a:xfrm>
        </p:spPr>
        <p:txBody>
          <a:bodyPr lIns="22860" tIns="11430" rIns="22860" bIns="11430"/>
          <a:lstStyle>
            <a:lvl1pPr algn="l">
              <a:defRPr sz="1400">
                <a:solidFill>
                  <a:schemeClr val="bg1"/>
                </a:solidFill>
              </a:defRPr>
            </a:lvl1pPr>
          </a:lstStyle>
          <a:p>
            <a:r>
              <a:rPr lang="en-US"/>
              <a:t>Internal</a:t>
            </a:r>
          </a:p>
        </p:txBody>
      </p:sp>
      <p:sp>
        <p:nvSpPr>
          <p:cNvPr id="6" name="Slide Number Placeholder 5"/>
          <p:cNvSpPr>
            <a:spLocks noGrp="1"/>
          </p:cNvSpPr>
          <p:nvPr>
            <p:ph type="sldNum" sz="quarter" idx="12"/>
          </p:nvPr>
        </p:nvSpPr>
        <p:spPr/>
        <p:txBody>
          <a:bodyPr lIns="22860" tIns="11430" rIns="22860" bIns="11430"/>
          <a:lstStyle>
            <a:lvl1pPr>
              <a:defRPr>
                <a:solidFill>
                  <a:schemeClr val="bg1"/>
                </a:solidFill>
              </a:defRPr>
            </a:lvl1pPr>
          </a:lstStyle>
          <a:p>
            <a:fld id="{6E737AD4-1126-44A2-B8AE-C24508FC0AC9}" type="slidenum">
              <a:rPr lang="en-US" smtClean="0"/>
              <a:pPr/>
              <a:t>‹#›</a:t>
            </a:fld>
            <a:endParaRPr lang="en-US"/>
          </a:p>
        </p:txBody>
      </p:sp>
      <p:pic>
        <p:nvPicPr>
          <p:cNvPr id="8" name="Graphic 7">
            <a:extLst>
              <a:ext uri="{FF2B5EF4-FFF2-40B4-BE49-F238E27FC236}">
                <a16:creationId xmlns:a16="http://schemas.microsoft.com/office/drawing/2014/main" id="{CB73EF2C-80D4-604C-A01C-82D2581B2D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8325" y="1323507"/>
            <a:ext cx="3279802" cy="658815"/>
          </a:xfrm>
          <a:prstGeom prst="rect">
            <a:avLst/>
          </a:prstGeom>
        </p:spPr>
      </p:pic>
    </p:spTree>
    <p:extLst>
      <p:ext uri="{BB962C8B-B14F-4D97-AF65-F5344CB8AC3E}">
        <p14:creationId xmlns:p14="http://schemas.microsoft.com/office/powerpoint/2010/main" val="6672151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tel og punk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Internal</a:t>
            </a:r>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333133"/>
            <a:ext cx="7918776"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2726"/>
            <a:ext cx="7918776" cy="3240000"/>
          </a:xfrm>
          <a:prstGeom prst="rect">
            <a:avLst/>
          </a:prstGeom>
        </p:spPr>
        <p:txBody>
          <a:bodyPr lIns="91440" tIns="45720" rIns="91440" bIns="4572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C9EE5AB5-B854-486D-B12E-0B5DAA704D85}"/>
              </a:ext>
            </a:extLst>
          </p:cNvPr>
          <p:cNvSpPr>
            <a:spLocks noGrp="1"/>
          </p:cNvSpPr>
          <p:nvPr>
            <p:ph type="title"/>
          </p:nvPr>
        </p:nvSpPr>
        <p:spPr>
          <a:xfrm>
            <a:off x="547759" y="628858"/>
            <a:ext cx="7918776" cy="476147"/>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40627765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tel, punkt og teks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Internal</a:t>
            </a:r>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333133"/>
            <a:ext cx="7918776"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2726"/>
            <a:ext cx="3725548" cy="3240000"/>
          </a:xfrm>
          <a:prstGeom prst="rect">
            <a:avLst/>
          </a:prstGeom>
        </p:spPr>
        <p:txBody>
          <a:bodyPr lIns="91440" tIns="45720" rIns="9144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E584EC5E-0F4F-4D27-96CF-2C9E04FB2028}"/>
              </a:ext>
            </a:extLst>
          </p:cNvPr>
          <p:cNvSpPr>
            <a:spLocks noGrp="1"/>
          </p:cNvSpPr>
          <p:nvPr>
            <p:ph sz="quarter" idx="16"/>
          </p:nvPr>
        </p:nvSpPr>
        <p:spPr>
          <a:xfrm>
            <a:off x="4740987" y="1392726"/>
            <a:ext cx="3725548" cy="3240000"/>
          </a:xfrm>
          <a:prstGeom prst="rect">
            <a:avLst/>
          </a:prstGeom>
        </p:spPr>
        <p:txBody>
          <a:bodyPr lIns="91440" tIns="0" rIns="91440" bIns="45720">
            <a:noAutofit/>
          </a:bodyPr>
          <a:lstStyle>
            <a:lvl1pPr marL="0" indent="0">
              <a:lnSpc>
                <a:spcPct val="130000"/>
              </a:lnSpc>
              <a:spcBef>
                <a:spcPts val="0"/>
              </a:spcBef>
              <a:buNone/>
              <a:defRPr sz="1200"/>
            </a:lvl1pPr>
          </a:lstStyle>
          <a:p>
            <a:pPr lvl="0"/>
            <a:r>
              <a:rPr lang="en-US"/>
              <a:t>Click to edit Master text styles</a:t>
            </a:r>
          </a:p>
        </p:txBody>
      </p:sp>
      <p:sp>
        <p:nvSpPr>
          <p:cNvPr id="11" name="Title 1">
            <a:extLst>
              <a:ext uri="{FF2B5EF4-FFF2-40B4-BE49-F238E27FC236}">
                <a16:creationId xmlns:a16="http://schemas.microsoft.com/office/drawing/2014/main" id="{4DC0CDF4-3DF1-4EE2-B9E5-B969E0D2EB35}"/>
              </a:ext>
            </a:extLst>
          </p:cNvPr>
          <p:cNvSpPr>
            <a:spLocks noGrp="1"/>
          </p:cNvSpPr>
          <p:nvPr>
            <p:ph type="title"/>
          </p:nvPr>
        </p:nvSpPr>
        <p:spPr>
          <a:xfrm>
            <a:off x="547759" y="628858"/>
            <a:ext cx="7918776" cy="476147"/>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2028546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tel, punkt og bilde (H)">
    <p:spTree>
      <p:nvGrpSpPr>
        <p:cNvPr id="1" name=""/>
        <p:cNvGrpSpPr/>
        <p:nvPr/>
      </p:nvGrpSpPr>
      <p:grpSpPr>
        <a:xfrm>
          <a:off x="0" y="0"/>
          <a:ext cx="0" cy="0"/>
          <a:chOff x="0" y="0"/>
          <a:chExt cx="0" cy="0"/>
        </a:xfrm>
      </p:grpSpPr>
      <p:sp>
        <p:nvSpPr>
          <p:cNvPr id="2" name="Title 1"/>
          <p:cNvSpPr>
            <a:spLocks noGrp="1"/>
          </p:cNvSpPr>
          <p:nvPr>
            <p:ph type="title"/>
          </p:nvPr>
        </p:nvSpPr>
        <p:spPr>
          <a:xfrm>
            <a:off x="547759" y="628858"/>
            <a:ext cx="3725548" cy="476147"/>
          </a:xfrm>
        </p:spPr>
        <p:txBody>
          <a:bodyPr/>
          <a:lstStyle>
            <a:lvl1pPr>
              <a:defRPr/>
            </a:lvl1p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Internal</a:t>
            </a:r>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333133"/>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p>
            <a:r>
              <a:rPr lang="en-US"/>
              <a:t>Click icon to add picture</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3842"/>
            <a:ext cx="3725548" cy="3238884"/>
          </a:xfrm>
          <a:prstGeom prst="rect">
            <a:avLst/>
          </a:prstGeom>
        </p:spPr>
        <p:txBody>
          <a:bodyPr lIns="91440" tIns="45720" rIns="91440" bIns="45720"/>
          <a:lstStyle>
            <a:lvl1pPr>
              <a:spcBef>
                <a:spcPts val="1800"/>
              </a:spcBef>
              <a:defRPr/>
            </a:lvl1pPr>
            <a:lvl2pPr>
              <a:spcBef>
                <a:spcPts val="450"/>
              </a:spcBef>
              <a:defRPr/>
            </a:lvl2pPr>
            <a:lvl3pPr>
              <a:spcBef>
                <a:spcPts val="450"/>
              </a:spcBef>
              <a:defRPr/>
            </a:lvl3pPr>
            <a:lvl4pPr>
              <a:spcBef>
                <a:spcPts val="450"/>
              </a:spcBef>
              <a:defRPr/>
            </a:lvl4pPr>
            <a:lvl5pPr>
              <a:spcBef>
                <a:spcPts val="45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98710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tel, tekst og bilde (H) (Mørk)">
    <p:bg>
      <p:bgPr>
        <a:solidFill>
          <a:srgbClr val="0C222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rgbClr val="E5E3D9"/>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E5E3D9"/>
                </a:solidFill>
              </a:defRPr>
            </a:lvl1pPr>
          </a:lstStyle>
          <a:p>
            <a:endParaRPr lang="en-US"/>
          </a:p>
        </p:txBody>
      </p:sp>
      <p:sp>
        <p:nvSpPr>
          <p:cNvPr id="5" name="Footer Placeholder 4"/>
          <p:cNvSpPr>
            <a:spLocks noGrp="1"/>
          </p:cNvSpPr>
          <p:nvPr>
            <p:ph type="ftr" sz="quarter" idx="11"/>
          </p:nvPr>
        </p:nvSpPr>
        <p:spPr/>
        <p:txBody>
          <a:bodyPr/>
          <a:lstStyle>
            <a:lvl1pPr>
              <a:defRPr>
                <a:solidFill>
                  <a:srgbClr val="E5E3D9"/>
                </a:solidFill>
              </a:defRPr>
            </a:lvl1pPr>
          </a:lstStyle>
          <a:p>
            <a:r>
              <a:rPr lang="en-US"/>
              <a:t>Internal</a:t>
            </a:r>
          </a:p>
        </p:txBody>
      </p:sp>
      <p:sp>
        <p:nvSpPr>
          <p:cNvPr id="6" name="Slide Number Placeholder 5"/>
          <p:cNvSpPr>
            <a:spLocks noGrp="1"/>
          </p:cNvSpPr>
          <p:nvPr>
            <p:ph type="sldNum" sz="quarter" idx="12"/>
          </p:nvPr>
        </p:nvSpPr>
        <p:spPr/>
        <p:txBody>
          <a:bodyPr/>
          <a:lstStyle>
            <a:lvl1pPr>
              <a:defRPr>
                <a:solidFill>
                  <a:srgbClr val="E5E3D9"/>
                </a:solidFill>
              </a:defRPr>
            </a:lvl1pPr>
          </a:lstStyle>
          <a:p>
            <a:fld id="{6E737AD4-1126-44A2-B8AE-C24508FC0AC9}" type="slidenum">
              <a:rPr lang="en-US" smtClean="0"/>
              <a:pPr/>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980064"/>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E5E3D9"/>
                </a:solidFill>
              </a:defRPr>
            </a:lvl1pPr>
          </a:lstStyle>
          <a:p>
            <a:r>
              <a:rPr lang="en-US"/>
              <a:t>Click icon to add picture</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2571750"/>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E5E3D9"/>
                </a:solidFill>
              </a:defRPr>
            </a:lvl1pPr>
          </a:lstStyle>
          <a:p>
            <a:pPr lvl="0"/>
            <a:r>
              <a:rPr lang="en-US"/>
              <a:t>Click to edit Master text styles</a:t>
            </a:r>
          </a:p>
        </p:txBody>
      </p:sp>
    </p:spTree>
    <p:extLst>
      <p:ext uri="{BB962C8B-B14F-4D97-AF65-F5344CB8AC3E}">
        <p14:creationId xmlns:p14="http://schemas.microsoft.com/office/powerpoint/2010/main" val="8993859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tel, tekst og bilde (H) (Mørk, Logo)">
    <p:bg>
      <p:bgPr>
        <a:solidFill>
          <a:srgbClr val="0C222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rgbClr val="E5E3D9"/>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E5E3D9"/>
                </a:solidFill>
              </a:defRPr>
            </a:lvl1pPr>
          </a:lstStyle>
          <a:p>
            <a:endParaRPr lang="en-US"/>
          </a:p>
        </p:txBody>
      </p:sp>
      <p:sp>
        <p:nvSpPr>
          <p:cNvPr id="5" name="Footer Placeholder 4"/>
          <p:cNvSpPr>
            <a:spLocks noGrp="1"/>
          </p:cNvSpPr>
          <p:nvPr>
            <p:ph type="ftr" sz="quarter" idx="11"/>
          </p:nvPr>
        </p:nvSpPr>
        <p:spPr/>
        <p:txBody>
          <a:bodyPr/>
          <a:lstStyle>
            <a:lvl1pPr>
              <a:defRPr>
                <a:solidFill>
                  <a:srgbClr val="E5E3D9"/>
                </a:solidFill>
              </a:defRPr>
            </a:lvl1pPr>
          </a:lstStyle>
          <a:p>
            <a:r>
              <a:rPr lang="en-US"/>
              <a:t>Internal</a:t>
            </a:r>
          </a:p>
        </p:txBody>
      </p:sp>
      <p:sp>
        <p:nvSpPr>
          <p:cNvPr id="6" name="Slide Number Placeholder 5"/>
          <p:cNvSpPr>
            <a:spLocks noGrp="1"/>
          </p:cNvSpPr>
          <p:nvPr>
            <p:ph type="sldNum" sz="quarter" idx="12"/>
          </p:nvPr>
        </p:nvSpPr>
        <p:spPr/>
        <p:txBody>
          <a:bodyPr/>
          <a:lstStyle>
            <a:lvl1pPr>
              <a:defRPr>
                <a:solidFill>
                  <a:srgbClr val="E5E3D9"/>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E5E3D9"/>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E5E3D9"/>
                </a:solidFill>
              </a:defRPr>
            </a:lvl1pPr>
          </a:lstStyle>
          <a:p>
            <a:pPr lvl="0"/>
            <a:r>
              <a:rPr lang="en-US"/>
              <a:t>Click to edit Master text styles</a:t>
            </a:r>
          </a:p>
        </p:txBody>
      </p:sp>
    </p:spTree>
    <p:extLst>
      <p:ext uri="{BB962C8B-B14F-4D97-AF65-F5344CB8AC3E}">
        <p14:creationId xmlns:p14="http://schemas.microsoft.com/office/powerpoint/2010/main" val="10322708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content and picture (R) Re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876722F9-92F6-F441-8868-C450CCF37167}" type="datetime1">
              <a:rPr lang="nb-NO" smtClean="0"/>
              <a:pPr/>
              <a:t>27.10.2020</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chemeClr val="bg1"/>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847102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7760" y="623058"/>
            <a:ext cx="7967591" cy="476147"/>
          </a:xfrm>
          <a:prstGeom prst="rect">
            <a:avLst/>
          </a:prstGeom>
        </p:spPr>
        <p:txBody>
          <a:bodyPr vert="horz" lIns="45720" tIns="22860" rIns="45720" bIns="22860" rtlCol="0" anchor="t">
            <a:noAutofit/>
          </a:bodyPr>
          <a:lstStyle/>
          <a:p>
            <a:r>
              <a:rPr lang="en-US"/>
              <a:t>Click to edit Master title style</a:t>
            </a:r>
          </a:p>
        </p:txBody>
      </p:sp>
      <p:sp>
        <p:nvSpPr>
          <p:cNvPr id="3" name="Text Placeholder 2"/>
          <p:cNvSpPr>
            <a:spLocks noGrp="1"/>
          </p:cNvSpPr>
          <p:nvPr>
            <p:ph type="body" idx="1"/>
          </p:nvPr>
        </p:nvSpPr>
        <p:spPr>
          <a:xfrm>
            <a:off x="547760" y="1393842"/>
            <a:ext cx="7967591" cy="3238883"/>
          </a:xfrm>
          <a:prstGeom prst="rect">
            <a:avLst/>
          </a:prstGeom>
        </p:spPr>
        <p:txBody>
          <a:bodyPr vert="horz" lIns="45720" tIns="22860" rIns="45720" bIns="2286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47760" y="4794571"/>
            <a:ext cx="562187" cy="273844"/>
          </a:xfrm>
          <a:prstGeom prst="rect">
            <a:avLst/>
          </a:prstGeom>
        </p:spPr>
        <p:txBody>
          <a:bodyPr vert="horz" lIns="0" tIns="22860" rIns="0" bIns="22860" rtlCol="0" anchor="ctr"/>
          <a:lstStyle>
            <a:lvl1pPr algn="l">
              <a:defRPr sz="638">
                <a:solidFill>
                  <a:srgbClr val="404040"/>
                </a:solidFill>
              </a:defRPr>
            </a:lvl1pPr>
          </a:lstStyle>
          <a:p>
            <a:endParaRPr lang="en-US"/>
          </a:p>
        </p:txBody>
      </p:sp>
      <p:sp>
        <p:nvSpPr>
          <p:cNvPr id="5" name="Footer Placeholder 4"/>
          <p:cNvSpPr>
            <a:spLocks noGrp="1"/>
          </p:cNvSpPr>
          <p:nvPr>
            <p:ph type="ftr" sz="quarter" idx="3"/>
          </p:nvPr>
        </p:nvSpPr>
        <p:spPr>
          <a:xfrm>
            <a:off x="1922396" y="4794571"/>
            <a:ext cx="2649604" cy="273844"/>
          </a:xfrm>
          <a:prstGeom prst="rect">
            <a:avLst/>
          </a:prstGeom>
        </p:spPr>
        <p:txBody>
          <a:bodyPr vert="horz" lIns="45720" tIns="22860" rIns="45720" bIns="22860" rtlCol="0" anchor="ctr"/>
          <a:lstStyle>
            <a:lvl1pPr algn="l">
              <a:defRPr sz="638">
                <a:solidFill>
                  <a:srgbClr val="404040"/>
                </a:solidFill>
              </a:defRPr>
            </a:lvl1pPr>
          </a:lstStyle>
          <a:p>
            <a:r>
              <a:rPr lang="en-US"/>
              <a:t>Internal</a:t>
            </a:r>
          </a:p>
        </p:txBody>
      </p:sp>
      <p:sp>
        <p:nvSpPr>
          <p:cNvPr id="6" name="Slide Number Placeholder 5"/>
          <p:cNvSpPr>
            <a:spLocks noGrp="1"/>
          </p:cNvSpPr>
          <p:nvPr>
            <p:ph type="sldNum" sz="quarter" idx="4"/>
          </p:nvPr>
        </p:nvSpPr>
        <p:spPr>
          <a:xfrm>
            <a:off x="1109947" y="4794571"/>
            <a:ext cx="812449" cy="273844"/>
          </a:xfrm>
          <a:prstGeom prst="rect">
            <a:avLst/>
          </a:prstGeom>
        </p:spPr>
        <p:txBody>
          <a:bodyPr vert="horz" lIns="45720" tIns="22860" rIns="45720" bIns="22860" rtlCol="0" anchor="ctr"/>
          <a:lstStyle>
            <a:lvl1pPr algn="ctr">
              <a:defRPr sz="638">
                <a:solidFill>
                  <a:srgbClr val="404040"/>
                </a:solidFill>
              </a:defRPr>
            </a:lvl1pPr>
          </a:lstStyle>
          <a:p>
            <a:fld id="{6E737AD4-1126-44A2-B8AE-C24508FC0AC9}" type="slidenum">
              <a:rPr lang="en-US" smtClean="0"/>
              <a:pPr/>
              <a:t>‹#›</a:t>
            </a:fld>
            <a:endParaRPr lang="en-US"/>
          </a:p>
        </p:txBody>
      </p:sp>
    </p:spTree>
    <p:extLst>
      <p:ext uri="{BB962C8B-B14F-4D97-AF65-F5344CB8AC3E}">
        <p14:creationId xmlns:p14="http://schemas.microsoft.com/office/powerpoint/2010/main" val="4279505223"/>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88" r:id="rId3"/>
    <p:sldLayoutId id="2147483676" r:id="rId4"/>
    <p:sldLayoutId id="2147483675" r:id="rId5"/>
    <p:sldLayoutId id="2147483674" r:id="rId6"/>
    <p:sldLayoutId id="2147483677" r:id="rId7"/>
    <p:sldLayoutId id="2147483678" r:id="rId8"/>
    <p:sldLayoutId id="2147483691" r:id="rId9"/>
    <p:sldLayoutId id="2147483693" r:id="rId10"/>
    <p:sldLayoutId id="2147483694" r:id="rId11"/>
    <p:sldLayoutId id="2147483695" r:id="rId12"/>
    <p:sldLayoutId id="2147483679" r:id="rId13"/>
    <p:sldLayoutId id="2147483664" r:id="rId14"/>
    <p:sldLayoutId id="2147483680" r:id="rId15"/>
    <p:sldLayoutId id="2147483681" r:id="rId16"/>
    <p:sldLayoutId id="2147483667" r:id="rId17"/>
    <p:sldLayoutId id="2147483698" r:id="rId18"/>
    <p:sldLayoutId id="2147483701" r:id="rId19"/>
    <p:sldLayoutId id="2147483702" r:id="rId20"/>
  </p:sldLayoutIdLst>
  <p:hf sldNum="0" hdr="0" ftr="0" dt="0"/>
  <p:txStyles>
    <p:titleStyle>
      <a:lvl1pPr algn="l" defTabSz="685628" rtl="0" eaLnBrk="1" latinLnBrk="0" hangingPunct="1">
        <a:lnSpc>
          <a:spcPct val="100000"/>
        </a:lnSpc>
        <a:spcBef>
          <a:spcPct val="0"/>
        </a:spcBef>
        <a:buNone/>
        <a:defRPr sz="2800" b="1" kern="1200">
          <a:solidFill>
            <a:srgbClr val="094E5D"/>
          </a:solidFill>
          <a:latin typeface="+mj-lt"/>
          <a:ea typeface="+mj-ea"/>
          <a:cs typeface="+mj-cs"/>
        </a:defRPr>
      </a:lvl1pPr>
    </p:titleStyle>
    <p:body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28" rtl="0" eaLnBrk="1" latinLnBrk="0" hangingPunct="1">
        <a:defRPr sz="1350" kern="1200">
          <a:solidFill>
            <a:schemeClr val="tx1"/>
          </a:solidFill>
          <a:latin typeface="+mn-lt"/>
          <a:ea typeface="+mn-ea"/>
          <a:cs typeface="+mn-cs"/>
        </a:defRPr>
      </a:lvl1pPr>
      <a:lvl2pPr marL="342815" algn="l" defTabSz="685628" rtl="0" eaLnBrk="1" latinLnBrk="0" hangingPunct="1">
        <a:defRPr sz="1350" kern="1200">
          <a:solidFill>
            <a:schemeClr val="tx1"/>
          </a:solidFill>
          <a:latin typeface="+mn-lt"/>
          <a:ea typeface="+mn-ea"/>
          <a:cs typeface="+mn-cs"/>
        </a:defRPr>
      </a:lvl2pPr>
      <a:lvl3pPr marL="685628" algn="l" defTabSz="685628" rtl="0" eaLnBrk="1" latinLnBrk="0" hangingPunct="1">
        <a:defRPr sz="1350" kern="1200">
          <a:solidFill>
            <a:schemeClr val="tx1"/>
          </a:solidFill>
          <a:latin typeface="+mn-lt"/>
          <a:ea typeface="+mn-ea"/>
          <a:cs typeface="+mn-cs"/>
        </a:defRPr>
      </a:lvl3pPr>
      <a:lvl4pPr marL="1028443" algn="l" defTabSz="685628" rtl="0" eaLnBrk="1" latinLnBrk="0" hangingPunct="1">
        <a:defRPr sz="1350" kern="1200">
          <a:solidFill>
            <a:schemeClr val="tx1"/>
          </a:solidFill>
          <a:latin typeface="+mn-lt"/>
          <a:ea typeface="+mn-ea"/>
          <a:cs typeface="+mn-cs"/>
        </a:defRPr>
      </a:lvl4pPr>
      <a:lvl5pPr marL="1371257" algn="l" defTabSz="685628" rtl="0" eaLnBrk="1" latinLnBrk="0" hangingPunct="1">
        <a:defRPr sz="1350" kern="1200">
          <a:solidFill>
            <a:schemeClr val="tx1"/>
          </a:solidFill>
          <a:latin typeface="+mn-lt"/>
          <a:ea typeface="+mn-ea"/>
          <a:cs typeface="+mn-cs"/>
        </a:defRPr>
      </a:lvl5pPr>
      <a:lvl6pPr marL="1714072" algn="l" defTabSz="685628" rtl="0" eaLnBrk="1" latinLnBrk="0" hangingPunct="1">
        <a:defRPr sz="1350" kern="1200">
          <a:solidFill>
            <a:schemeClr val="tx1"/>
          </a:solidFill>
          <a:latin typeface="+mn-lt"/>
          <a:ea typeface="+mn-ea"/>
          <a:cs typeface="+mn-cs"/>
        </a:defRPr>
      </a:lvl6pPr>
      <a:lvl7pPr marL="2056885" algn="l" defTabSz="685628" rtl="0" eaLnBrk="1" latinLnBrk="0" hangingPunct="1">
        <a:defRPr sz="1350" kern="1200">
          <a:solidFill>
            <a:schemeClr val="tx1"/>
          </a:solidFill>
          <a:latin typeface="+mn-lt"/>
          <a:ea typeface="+mn-ea"/>
          <a:cs typeface="+mn-cs"/>
        </a:defRPr>
      </a:lvl7pPr>
      <a:lvl8pPr marL="2399700" algn="l" defTabSz="685628" rtl="0" eaLnBrk="1" latinLnBrk="0" hangingPunct="1">
        <a:defRPr sz="1350" kern="1200">
          <a:solidFill>
            <a:schemeClr val="tx1"/>
          </a:solidFill>
          <a:latin typeface="+mn-lt"/>
          <a:ea typeface="+mn-ea"/>
          <a:cs typeface="+mn-cs"/>
        </a:defRPr>
      </a:lvl8pPr>
      <a:lvl9pPr marL="2742515" algn="l" defTabSz="685628"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5.png"/><Relationship Id="rId1" Type="http://schemas.openxmlformats.org/officeDocument/2006/relationships/slideLayout" Target="../slideLayouts/slideLayout19.xml"/><Relationship Id="rId5" Type="http://schemas.openxmlformats.org/officeDocument/2006/relationships/image" Target="../media/image32.svg"/><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5.png"/><Relationship Id="rId1" Type="http://schemas.openxmlformats.org/officeDocument/2006/relationships/slideLayout" Target="../slideLayouts/slideLayout19.xml"/><Relationship Id="rId5" Type="http://schemas.openxmlformats.org/officeDocument/2006/relationships/image" Target="../media/image32.sv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5.png"/><Relationship Id="rId1" Type="http://schemas.openxmlformats.org/officeDocument/2006/relationships/slideLayout" Target="../slideLayouts/slideLayout19.xml"/><Relationship Id="rId5" Type="http://schemas.openxmlformats.org/officeDocument/2006/relationships/image" Target="../media/image32.svg"/><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5.png"/><Relationship Id="rId1" Type="http://schemas.openxmlformats.org/officeDocument/2006/relationships/slideLayout" Target="../slideLayouts/slideLayout19.xml"/><Relationship Id="rId5" Type="http://schemas.openxmlformats.org/officeDocument/2006/relationships/image" Target="../media/image32.svg"/><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5.png"/><Relationship Id="rId1" Type="http://schemas.openxmlformats.org/officeDocument/2006/relationships/slideLayout" Target="../slideLayouts/slideLayout19.xml"/><Relationship Id="rId6" Type="http://schemas.openxmlformats.org/officeDocument/2006/relationships/comments" Target="../comments/comment2.xml"/><Relationship Id="rId5" Type="http://schemas.openxmlformats.org/officeDocument/2006/relationships/image" Target="../media/image32.svg"/><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13.png"/><Relationship Id="rId1" Type="http://schemas.openxmlformats.org/officeDocument/2006/relationships/slideLayout" Target="../slideLayouts/slideLayout17.xml"/><Relationship Id="rId5" Type="http://schemas.openxmlformats.org/officeDocument/2006/relationships/image" Target="../media/image38.svg"/><Relationship Id="rId4" Type="http://schemas.openxmlformats.org/officeDocument/2006/relationships/image" Target="../media/image37.png"/></Relationships>
</file>

<file path=ppt/slides/_rels/slide16.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7.png"/><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46.png"/><Relationship Id="rId2" Type="http://schemas.openxmlformats.org/officeDocument/2006/relationships/image" Target="../media/image13.png"/><Relationship Id="rId1" Type="http://schemas.openxmlformats.org/officeDocument/2006/relationships/slideLayout" Target="../slideLayouts/slideLayout19.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image" Target="../media/image38.svg"/><Relationship Id="rId9" Type="http://schemas.openxmlformats.org/officeDocument/2006/relationships/image" Target="../media/image43.png"/></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3.png"/><Relationship Id="rId1" Type="http://schemas.openxmlformats.org/officeDocument/2006/relationships/slideLayout" Target="../slideLayouts/slideLayout19.xml"/><Relationship Id="rId5" Type="http://schemas.openxmlformats.org/officeDocument/2006/relationships/image" Target="../media/image38.svg"/><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8" Type="http://schemas.openxmlformats.org/officeDocument/2006/relationships/image" Target="../media/image48.emf"/><Relationship Id="rId3" Type="http://schemas.openxmlformats.org/officeDocument/2006/relationships/image" Target="../media/image13.png"/><Relationship Id="rId7" Type="http://schemas.openxmlformats.org/officeDocument/2006/relationships/package" Target="../embeddings/Microsoft_Visio_Drawing.vsdx"/><Relationship Id="rId2" Type="http://schemas.openxmlformats.org/officeDocument/2006/relationships/slideLayout" Target="../slideLayouts/slideLayout19.xml"/><Relationship Id="rId1" Type="http://schemas.openxmlformats.org/officeDocument/2006/relationships/vmlDrawing" Target="../drawings/vmlDrawing2.v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5.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3.png"/><Relationship Id="rId1" Type="http://schemas.openxmlformats.org/officeDocument/2006/relationships/slideLayout" Target="../slideLayouts/slideLayout19.xml"/><Relationship Id="rId5" Type="http://schemas.openxmlformats.org/officeDocument/2006/relationships/image" Target="../media/image38.svg"/><Relationship Id="rId4" Type="http://schemas.openxmlformats.org/officeDocument/2006/relationships/image" Target="../media/image37.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comments" Target="../comments/comment1.xml"/><Relationship Id="rId2" Type="http://schemas.openxmlformats.org/officeDocument/2006/relationships/notesSlide" Target="../notesSlides/notesSlide1.xml"/><Relationship Id="rId1" Type="http://schemas.openxmlformats.org/officeDocument/2006/relationships/slideLayout" Target="../slideLayouts/slideLayout17.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jpeg"/></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3.png"/><Relationship Id="rId1" Type="http://schemas.openxmlformats.org/officeDocument/2006/relationships/slideLayout" Target="../slideLayouts/slideLayout19.xml"/><Relationship Id="rId5" Type="http://schemas.openxmlformats.org/officeDocument/2006/relationships/image" Target="../media/image38.svg"/><Relationship Id="rId4" Type="http://schemas.openxmlformats.org/officeDocument/2006/relationships/image" Target="../media/image37.png"/></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3.png"/><Relationship Id="rId1" Type="http://schemas.openxmlformats.org/officeDocument/2006/relationships/slideLayout" Target="../slideLayouts/slideLayout19.xml"/><Relationship Id="rId4" Type="http://schemas.openxmlformats.org/officeDocument/2006/relationships/image" Target="../media/image38.svg"/></Relationships>
</file>

<file path=ppt/slides/_rels/slide2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3.png"/><Relationship Id="rId1" Type="http://schemas.openxmlformats.org/officeDocument/2006/relationships/slideLayout" Target="../slideLayouts/slideLayout19.xml"/><Relationship Id="rId4" Type="http://schemas.openxmlformats.org/officeDocument/2006/relationships/image" Target="../media/image38.svg"/></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3.png"/><Relationship Id="rId1" Type="http://schemas.openxmlformats.org/officeDocument/2006/relationships/slideLayout" Target="../slideLayouts/slideLayout19.xml"/><Relationship Id="rId5" Type="http://schemas.openxmlformats.org/officeDocument/2006/relationships/image" Target="../media/image38.svg"/><Relationship Id="rId4" Type="http://schemas.openxmlformats.org/officeDocument/2006/relationships/image" Target="../media/image37.png"/></Relationships>
</file>

<file path=ppt/slides/_rels/slide24.xml.rels><?xml version="1.0" encoding="UTF-8" standalone="yes"?>
<Relationships xmlns="http://schemas.openxmlformats.org/package/2006/relationships"><Relationship Id="rId8" Type="http://schemas.openxmlformats.org/officeDocument/2006/relationships/image" Target="../media/image49.emf"/><Relationship Id="rId3" Type="http://schemas.openxmlformats.org/officeDocument/2006/relationships/image" Target="../media/image13.png"/><Relationship Id="rId7" Type="http://schemas.openxmlformats.org/officeDocument/2006/relationships/package" Target="../embeddings/Microsoft_Visio_Drawing1.vsdx"/><Relationship Id="rId2" Type="http://schemas.openxmlformats.org/officeDocument/2006/relationships/slideLayout" Target="../slideLayouts/slideLayout19.xml"/><Relationship Id="rId1" Type="http://schemas.openxmlformats.org/officeDocument/2006/relationships/vmlDrawing" Target="../drawings/vmlDrawing3.v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5.png"/></Relationships>
</file>

<file path=ppt/slides/_rels/slide25.xml.rels><?xml version="1.0" encoding="UTF-8" standalone="yes"?>
<Relationships xmlns="http://schemas.openxmlformats.org/package/2006/relationships"><Relationship Id="rId8" Type="http://schemas.openxmlformats.org/officeDocument/2006/relationships/image" Target="../media/image50.emf"/><Relationship Id="rId3" Type="http://schemas.openxmlformats.org/officeDocument/2006/relationships/image" Target="../media/image13.png"/><Relationship Id="rId7" Type="http://schemas.openxmlformats.org/officeDocument/2006/relationships/package" Target="../embeddings/Microsoft_Visio_Drawing2.vsdx"/><Relationship Id="rId2" Type="http://schemas.openxmlformats.org/officeDocument/2006/relationships/slideLayout" Target="../slideLayouts/slideLayout19.xml"/><Relationship Id="rId1" Type="http://schemas.openxmlformats.org/officeDocument/2006/relationships/vmlDrawing" Target="../drawings/vmlDrawing4.v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3.png"/><Relationship Id="rId1" Type="http://schemas.openxmlformats.org/officeDocument/2006/relationships/slideLayout" Target="../slideLayouts/slideLayout19.xml"/><Relationship Id="rId5" Type="http://schemas.openxmlformats.org/officeDocument/2006/relationships/image" Target="../media/image38.svg"/><Relationship Id="rId4" Type="http://schemas.openxmlformats.org/officeDocument/2006/relationships/image" Target="../media/image37.png"/></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3.png"/><Relationship Id="rId1" Type="http://schemas.openxmlformats.org/officeDocument/2006/relationships/slideLayout" Target="../slideLayouts/slideLayout19.xml"/><Relationship Id="rId5" Type="http://schemas.openxmlformats.org/officeDocument/2006/relationships/image" Target="../media/image38.svg"/><Relationship Id="rId4" Type="http://schemas.openxmlformats.org/officeDocument/2006/relationships/image" Target="../media/image37.png"/></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3.png"/><Relationship Id="rId1" Type="http://schemas.openxmlformats.org/officeDocument/2006/relationships/slideLayout" Target="../slideLayouts/slideLayout19.xml"/><Relationship Id="rId5" Type="http://schemas.openxmlformats.org/officeDocument/2006/relationships/image" Target="../media/image38.svg"/><Relationship Id="rId4" Type="http://schemas.openxmlformats.org/officeDocument/2006/relationships/image" Target="../media/image37.png"/></Relationships>
</file>

<file path=ppt/slides/_rels/slide29.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image" Target="../media/image13.png"/><Relationship Id="rId7" Type="http://schemas.openxmlformats.org/officeDocument/2006/relationships/package" Target="../embeddings/Microsoft_Visio_Drawing3.vsdx"/><Relationship Id="rId2" Type="http://schemas.openxmlformats.org/officeDocument/2006/relationships/slideLayout" Target="../slideLayouts/slideLayout19.xml"/><Relationship Id="rId1" Type="http://schemas.openxmlformats.org/officeDocument/2006/relationships/vmlDrawing" Target="../drawings/vmlDrawing5.v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16.svg"/><Relationship Id="rId3" Type="http://schemas.openxmlformats.org/officeDocument/2006/relationships/image" Target="../media/image18.svg"/><Relationship Id="rId7" Type="http://schemas.openxmlformats.org/officeDocument/2006/relationships/image" Target="../media/image22.svg"/><Relationship Id="rId12"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Layout" Target="../slideLayouts/slideLayout15.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sv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svg"/></Relationships>
</file>

<file path=ppt/slides/_rels/slide30.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52.png"/><Relationship Id="rId2" Type="http://schemas.openxmlformats.org/officeDocument/2006/relationships/notesSlide" Target="../notesSlides/notesSlide5.xml"/><Relationship Id="rId1" Type="http://schemas.openxmlformats.org/officeDocument/2006/relationships/slideLayout" Target="../slideLayouts/slideLayout19.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5.png"/></Relationships>
</file>

<file path=ppt/slides/_rels/slide31.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19.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5.png"/></Relationships>
</file>

<file path=ppt/slides/_rels/slide3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3.png"/><Relationship Id="rId1" Type="http://schemas.openxmlformats.org/officeDocument/2006/relationships/slideLayout" Target="../slideLayouts/slideLayout19.xml"/><Relationship Id="rId5" Type="http://schemas.openxmlformats.org/officeDocument/2006/relationships/image" Target="../media/image38.svg"/><Relationship Id="rId4" Type="http://schemas.openxmlformats.org/officeDocument/2006/relationships/image" Target="../media/image37.png"/></Relationships>
</file>

<file path=ppt/slides/_rels/slide33.xml.rels><?xml version="1.0" encoding="UTF-8" standalone="yes"?>
<Relationships xmlns="http://schemas.openxmlformats.org/package/2006/relationships"><Relationship Id="rId8" Type="http://schemas.openxmlformats.org/officeDocument/2006/relationships/package" Target="../embeddings/Microsoft_Excel_Worksheet.xlsx"/><Relationship Id="rId3" Type="http://schemas.openxmlformats.org/officeDocument/2006/relationships/notesSlide" Target="../notesSlides/notesSlide7.xml"/><Relationship Id="rId7" Type="http://schemas.openxmlformats.org/officeDocument/2006/relationships/image" Target="../media/image38.svg"/><Relationship Id="rId2" Type="http://schemas.openxmlformats.org/officeDocument/2006/relationships/slideLayout" Target="../slideLayouts/slideLayout19.xml"/><Relationship Id="rId1" Type="http://schemas.openxmlformats.org/officeDocument/2006/relationships/vmlDrawing" Target="../drawings/vmlDrawing6.vml"/><Relationship Id="rId6" Type="http://schemas.openxmlformats.org/officeDocument/2006/relationships/image" Target="../media/image37.png"/><Relationship Id="rId5" Type="http://schemas.openxmlformats.org/officeDocument/2006/relationships/image" Target="../media/image35.png"/><Relationship Id="rId4" Type="http://schemas.openxmlformats.org/officeDocument/2006/relationships/image" Target="../media/image13.png"/><Relationship Id="rId9" Type="http://schemas.openxmlformats.org/officeDocument/2006/relationships/image" Target="../media/image54.wmf"/></Relationships>
</file>

<file path=ppt/slides/_rels/slide34.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13.png"/><Relationship Id="rId7" Type="http://schemas.openxmlformats.org/officeDocument/2006/relationships/image" Target="../media/image56.pn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55.png"/><Relationship Id="rId5" Type="http://schemas.openxmlformats.org/officeDocument/2006/relationships/image" Target="../media/image38.svg"/><Relationship Id="rId10" Type="http://schemas.openxmlformats.org/officeDocument/2006/relationships/image" Target="../media/image59.png"/><Relationship Id="rId4" Type="http://schemas.openxmlformats.org/officeDocument/2006/relationships/image" Target="../media/image37.png"/><Relationship Id="rId9" Type="http://schemas.openxmlformats.org/officeDocument/2006/relationships/image" Target="../media/image58.png"/></Relationships>
</file>

<file path=ppt/slides/_rels/slide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19.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5.png"/></Relationships>
</file>

<file path=ppt/slides/_rels/slide36.xml.rels><?xml version="1.0" encoding="UTF-8" standalone="yes"?>
<Relationships xmlns="http://schemas.openxmlformats.org/package/2006/relationships"><Relationship Id="rId117" Type="http://schemas.openxmlformats.org/officeDocument/2006/relationships/tags" Target="../tags/tag119.xml"/><Relationship Id="rId21" Type="http://schemas.openxmlformats.org/officeDocument/2006/relationships/tags" Target="../tags/tag23.xml"/><Relationship Id="rId42" Type="http://schemas.openxmlformats.org/officeDocument/2006/relationships/tags" Target="../tags/tag44.xml"/><Relationship Id="rId63" Type="http://schemas.openxmlformats.org/officeDocument/2006/relationships/tags" Target="../tags/tag65.xml"/><Relationship Id="rId84" Type="http://schemas.openxmlformats.org/officeDocument/2006/relationships/tags" Target="../tags/tag86.xml"/><Relationship Id="rId138" Type="http://schemas.openxmlformats.org/officeDocument/2006/relationships/tags" Target="../tags/tag140.xml"/><Relationship Id="rId159" Type="http://schemas.openxmlformats.org/officeDocument/2006/relationships/tags" Target="../tags/tag161.xml"/><Relationship Id="rId170" Type="http://schemas.openxmlformats.org/officeDocument/2006/relationships/tags" Target="../tags/tag172.xml"/><Relationship Id="rId191" Type="http://schemas.openxmlformats.org/officeDocument/2006/relationships/tags" Target="../tags/tag193.xml"/><Relationship Id="rId107" Type="http://schemas.openxmlformats.org/officeDocument/2006/relationships/tags" Target="../tags/tag109.xml"/><Relationship Id="rId11" Type="http://schemas.openxmlformats.org/officeDocument/2006/relationships/tags" Target="../tags/tag13.xml"/><Relationship Id="rId32" Type="http://schemas.openxmlformats.org/officeDocument/2006/relationships/tags" Target="../tags/tag34.xml"/><Relationship Id="rId53" Type="http://schemas.openxmlformats.org/officeDocument/2006/relationships/tags" Target="../tags/tag55.xml"/><Relationship Id="rId74" Type="http://schemas.openxmlformats.org/officeDocument/2006/relationships/tags" Target="../tags/tag76.xml"/><Relationship Id="rId128" Type="http://schemas.openxmlformats.org/officeDocument/2006/relationships/tags" Target="../tags/tag130.xml"/><Relationship Id="rId149" Type="http://schemas.openxmlformats.org/officeDocument/2006/relationships/tags" Target="../tags/tag151.xml"/><Relationship Id="rId5" Type="http://schemas.openxmlformats.org/officeDocument/2006/relationships/tags" Target="../tags/tag7.xml"/><Relationship Id="rId95" Type="http://schemas.openxmlformats.org/officeDocument/2006/relationships/tags" Target="../tags/tag97.xml"/><Relationship Id="rId160" Type="http://schemas.openxmlformats.org/officeDocument/2006/relationships/tags" Target="../tags/tag162.xml"/><Relationship Id="rId181" Type="http://schemas.openxmlformats.org/officeDocument/2006/relationships/tags" Target="../tags/tag183.xml"/><Relationship Id="rId22" Type="http://schemas.openxmlformats.org/officeDocument/2006/relationships/tags" Target="../tags/tag24.xml"/><Relationship Id="rId43" Type="http://schemas.openxmlformats.org/officeDocument/2006/relationships/tags" Target="../tags/tag45.xml"/><Relationship Id="rId64" Type="http://schemas.openxmlformats.org/officeDocument/2006/relationships/tags" Target="../tags/tag66.xml"/><Relationship Id="rId118" Type="http://schemas.openxmlformats.org/officeDocument/2006/relationships/tags" Target="../tags/tag120.xml"/><Relationship Id="rId139" Type="http://schemas.openxmlformats.org/officeDocument/2006/relationships/tags" Target="../tags/tag141.xml"/><Relationship Id="rId85" Type="http://schemas.openxmlformats.org/officeDocument/2006/relationships/tags" Target="../tags/tag87.xml"/><Relationship Id="rId150" Type="http://schemas.openxmlformats.org/officeDocument/2006/relationships/tags" Target="../tags/tag152.xml"/><Relationship Id="rId171" Type="http://schemas.openxmlformats.org/officeDocument/2006/relationships/tags" Target="../tags/tag173.xml"/><Relationship Id="rId192" Type="http://schemas.openxmlformats.org/officeDocument/2006/relationships/tags" Target="../tags/tag194.xml"/><Relationship Id="rId12" Type="http://schemas.openxmlformats.org/officeDocument/2006/relationships/tags" Target="../tags/tag14.xml"/><Relationship Id="rId33" Type="http://schemas.openxmlformats.org/officeDocument/2006/relationships/tags" Target="../tags/tag35.xml"/><Relationship Id="rId108" Type="http://schemas.openxmlformats.org/officeDocument/2006/relationships/tags" Target="../tags/tag110.xml"/><Relationship Id="rId129" Type="http://schemas.openxmlformats.org/officeDocument/2006/relationships/tags" Target="../tags/tag131.xml"/><Relationship Id="rId54" Type="http://schemas.openxmlformats.org/officeDocument/2006/relationships/tags" Target="../tags/tag56.xml"/><Relationship Id="rId75" Type="http://schemas.openxmlformats.org/officeDocument/2006/relationships/tags" Target="../tags/tag77.xml"/><Relationship Id="rId96" Type="http://schemas.openxmlformats.org/officeDocument/2006/relationships/tags" Target="../tags/tag98.xml"/><Relationship Id="rId140" Type="http://schemas.openxmlformats.org/officeDocument/2006/relationships/tags" Target="../tags/tag142.xml"/><Relationship Id="rId161" Type="http://schemas.openxmlformats.org/officeDocument/2006/relationships/tags" Target="../tags/tag163.xml"/><Relationship Id="rId182" Type="http://schemas.openxmlformats.org/officeDocument/2006/relationships/tags" Target="../tags/tag184.xml"/><Relationship Id="rId6" Type="http://schemas.openxmlformats.org/officeDocument/2006/relationships/tags" Target="../tags/tag8.xml"/><Relationship Id="rId23" Type="http://schemas.openxmlformats.org/officeDocument/2006/relationships/tags" Target="../tags/tag25.xml"/><Relationship Id="rId119" Type="http://schemas.openxmlformats.org/officeDocument/2006/relationships/tags" Target="../tags/tag121.xml"/><Relationship Id="rId44" Type="http://schemas.openxmlformats.org/officeDocument/2006/relationships/tags" Target="../tags/tag46.xml"/><Relationship Id="rId65" Type="http://schemas.openxmlformats.org/officeDocument/2006/relationships/tags" Target="../tags/tag67.xml"/><Relationship Id="rId86" Type="http://schemas.openxmlformats.org/officeDocument/2006/relationships/tags" Target="../tags/tag88.xml"/><Relationship Id="rId130" Type="http://schemas.openxmlformats.org/officeDocument/2006/relationships/tags" Target="../tags/tag132.xml"/><Relationship Id="rId151" Type="http://schemas.openxmlformats.org/officeDocument/2006/relationships/tags" Target="../tags/tag153.xml"/><Relationship Id="rId172" Type="http://schemas.openxmlformats.org/officeDocument/2006/relationships/tags" Target="../tags/tag174.xml"/><Relationship Id="rId193" Type="http://schemas.openxmlformats.org/officeDocument/2006/relationships/slideLayout" Target="../slideLayouts/slideLayout17.xml"/><Relationship Id="rId13" Type="http://schemas.openxmlformats.org/officeDocument/2006/relationships/tags" Target="../tags/tag15.xml"/><Relationship Id="rId109" Type="http://schemas.openxmlformats.org/officeDocument/2006/relationships/tags" Target="../tags/tag111.xml"/><Relationship Id="rId34" Type="http://schemas.openxmlformats.org/officeDocument/2006/relationships/tags" Target="../tags/tag36.xml"/><Relationship Id="rId50" Type="http://schemas.openxmlformats.org/officeDocument/2006/relationships/tags" Target="../tags/tag52.xml"/><Relationship Id="rId55" Type="http://schemas.openxmlformats.org/officeDocument/2006/relationships/tags" Target="../tags/tag57.xml"/><Relationship Id="rId76" Type="http://schemas.openxmlformats.org/officeDocument/2006/relationships/tags" Target="../tags/tag78.xml"/><Relationship Id="rId97" Type="http://schemas.openxmlformats.org/officeDocument/2006/relationships/tags" Target="../tags/tag99.xml"/><Relationship Id="rId104" Type="http://schemas.openxmlformats.org/officeDocument/2006/relationships/tags" Target="../tags/tag106.xml"/><Relationship Id="rId120" Type="http://schemas.openxmlformats.org/officeDocument/2006/relationships/tags" Target="../tags/tag122.xml"/><Relationship Id="rId125" Type="http://schemas.openxmlformats.org/officeDocument/2006/relationships/tags" Target="../tags/tag127.xml"/><Relationship Id="rId141" Type="http://schemas.openxmlformats.org/officeDocument/2006/relationships/tags" Target="../tags/tag143.xml"/><Relationship Id="rId146" Type="http://schemas.openxmlformats.org/officeDocument/2006/relationships/tags" Target="../tags/tag148.xml"/><Relationship Id="rId167" Type="http://schemas.openxmlformats.org/officeDocument/2006/relationships/tags" Target="../tags/tag169.xml"/><Relationship Id="rId188" Type="http://schemas.openxmlformats.org/officeDocument/2006/relationships/tags" Target="../tags/tag190.xml"/><Relationship Id="rId7" Type="http://schemas.openxmlformats.org/officeDocument/2006/relationships/tags" Target="../tags/tag9.xml"/><Relationship Id="rId71" Type="http://schemas.openxmlformats.org/officeDocument/2006/relationships/tags" Target="../tags/tag73.xml"/><Relationship Id="rId92" Type="http://schemas.openxmlformats.org/officeDocument/2006/relationships/tags" Target="../tags/tag94.xml"/><Relationship Id="rId162" Type="http://schemas.openxmlformats.org/officeDocument/2006/relationships/tags" Target="../tags/tag164.xml"/><Relationship Id="rId183" Type="http://schemas.openxmlformats.org/officeDocument/2006/relationships/tags" Target="../tags/tag185.xml"/><Relationship Id="rId2" Type="http://schemas.openxmlformats.org/officeDocument/2006/relationships/tags" Target="../tags/tag4.xml"/><Relationship Id="rId29" Type="http://schemas.openxmlformats.org/officeDocument/2006/relationships/tags" Target="../tags/tag31.xml"/><Relationship Id="rId24" Type="http://schemas.openxmlformats.org/officeDocument/2006/relationships/tags" Target="../tags/tag26.xml"/><Relationship Id="rId40" Type="http://schemas.openxmlformats.org/officeDocument/2006/relationships/tags" Target="../tags/tag42.xml"/><Relationship Id="rId45" Type="http://schemas.openxmlformats.org/officeDocument/2006/relationships/tags" Target="../tags/tag47.xml"/><Relationship Id="rId66" Type="http://schemas.openxmlformats.org/officeDocument/2006/relationships/tags" Target="../tags/tag68.xml"/><Relationship Id="rId87" Type="http://schemas.openxmlformats.org/officeDocument/2006/relationships/tags" Target="../tags/tag89.xml"/><Relationship Id="rId110" Type="http://schemas.openxmlformats.org/officeDocument/2006/relationships/tags" Target="../tags/tag112.xml"/><Relationship Id="rId115" Type="http://schemas.openxmlformats.org/officeDocument/2006/relationships/tags" Target="../tags/tag117.xml"/><Relationship Id="rId131" Type="http://schemas.openxmlformats.org/officeDocument/2006/relationships/tags" Target="../tags/tag133.xml"/><Relationship Id="rId136" Type="http://schemas.openxmlformats.org/officeDocument/2006/relationships/tags" Target="../tags/tag138.xml"/><Relationship Id="rId157" Type="http://schemas.openxmlformats.org/officeDocument/2006/relationships/tags" Target="../tags/tag159.xml"/><Relationship Id="rId178" Type="http://schemas.openxmlformats.org/officeDocument/2006/relationships/tags" Target="../tags/tag180.xml"/><Relationship Id="rId61" Type="http://schemas.openxmlformats.org/officeDocument/2006/relationships/tags" Target="../tags/tag63.xml"/><Relationship Id="rId82" Type="http://schemas.openxmlformats.org/officeDocument/2006/relationships/tags" Target="../tags/tag84.xml"/><Relationship Id="rId152" Type="http://schemas.openxmlformats.org/officeDocument/2006/relationships/tags" Target="../tags/tag154.xml"/><Relationship Id="rId173" Type="http://schemas.openxmlformats.org/officeDocument/2006/relationships/tags" Target="../tags/tag175.xml"/><Relationship Id="rId19" Type="http://schemas.openxmlformats.org/officeDocument/2006/relationships/tags" Target="../tags/tag21.xml"/><Relationship Id="rId14" Type="http://schemas.openxmlformats.org/officeDocument/2006/relationships/tags" Target="../tags/tag16.xml"/><Relationship Id="rId30" Type="http://schemas.openxmlformats.org/officeDocument/2006/relationships/tags" Target="../tags/tag32.xml"/><Relationship Id="rId35" Type="http://schemas.openxmlformats.org/officeDocument/2006/relationships/tags" Target="../tags/tag37.xml"/><Relationship Id="rId56" Type="http://schemas.openxmlformats.org/officeDocument/2006/relationships/tags" Target="../tags/tag58.xml"/><Relationship Id="rId77" Type="http://schemas.openxmlformats.org/officeDocument/2006/relationships/tags" Target="../tags/tag79.xml"/><Relationship Id="rId100" Type="http://schemas.openxmlformats.org/officeDocument/2006/relationships/tags" Target="../tags/tag102.xml"/><Relationship Id="rId105" Type="http://schemas.openxmlformats.org/officeDocument/2006/relationships/tags" Target="../tags/tag107.xml"/><Relationship Id="rId126" Type="http://schemas.openxmlformats.org/officeDocument/2006/relationships/tags" Target="../tags/tag128.xml"/><Relationship Id="rId147" Type="http://schemas.openxmlformats.org/officeDocument/2006/relationships/tags" Target="../tags/tag149.xml"/><Relationship Id="rId168" Type="http://schemas.openxmlformats.org/officeDocument/2006/relationships/tags" Target="../tags/tag170.xml"/><Relationship Id="rId8" Type="http://schemas.openxmlformats.org/officeDocument/2006/relationships/tags" Target="../tags/tag10.xml"/><Relationship Id="rId51" Type="http://schemas.openxmlformats.org/officeDocument/2006/relationships/tags" Target="../tags/tag53.xml"/><Relationship Id="rId72" Type="http://schemas.openxmlformats.org/officeDocument/2006/relationships/tags" Target="../tags/tag74.xml"/><Relationship Id="rId93" Type="http://schemas.openxmlformats.org/officeDocument/2006/relationships/tags" Target="../tags/tag95.xml"/><Relationship Id="rId98" Type="http://schemas.openxmlformats.org/officeDocument/2006/relationships/tags" Target="../tags/tag100.xml"/><Relationship Id="rId121" Type="http://schemas.openxmlformats.org/officeDocument/2006/relationships/tags" Target="../tags/tag123.xml"/><Relationship Id="rId142" Type="http://schemas.openxmlformats.org/officeDocument/2006/relationships/tags" Target="../tags/tag144.xml"/><Relationship Id="rId163" Type="http://schemas.openxmlformats.org/officeDocument/2006/relationships/tags" Target="../tags/tag165.xml"/><Relationship Id="rId184" Type="http://schemas.openxmlformats.org/officeDocument/2006/relationships/tags" Target="../tags/tag186.xml"/><Relationship Id="rId189" Type="http://schemas.openxmlformats.org/officeDocument/2006/relationships/tags" Target="../tags/tag191.xml"/><Relationship Id="rId3" Type="http://schemas.openxmlformats.org/officeDocument/2006/relationships/tags" Target="../tags/tag5.xml"/><Relationship Id="rId25" Type="http://schemas.openxmlformats.org/officeDocument/2006/relationships/tags" Target="../tags/tag27.xml"/><Relationship Id="rId46" Type="http://schemas.openxmlformats.org/officeDocument/2006/relationships/tags" Target="../tags/tag48.xml"/><Relationship Id="rId67" Type="http://schemas.openxmlformats.org/officeDocument/2006/relationships/tags" Target="../tags/tag69.xml"/><Relationship Id="rId116" Type="http://schemas.openxmlformats.org/officeDocument/2006/relationships/tags" Target="../tags/tag118.xml"/><Relationship Id="rId137" Type="http://schemas.openxmlformats.org/officeDocument/2006/relationships/tags" Target="../tags/tag139.xml"/><Relationship Id="rId158" Type="http://schemas.openxmlformats.org/officeDocument/2006/relationships/tags" Target="../tags/tag160.xml"/><Relationship Id="rId20" Type="http://schemas.openxmlformats.org/officeDocument/2006/relationships/tags" Target="../tags/tag22.xml"/><Relationship Id="rId41" Type="http://schemas.openxmlformats.org/officeDocument/2006/relationships/tags" Target="../tags/tag43.xml"/><Relationship Id="rId62" Type="http://schemas.openxmlformats.org/officeDocument/2006/relationships/tags" Target="../tags/tag64.xml"/><Relationship Id="rId83" Type="http://schemas.openxmlformats.org/officeDocument/2006/relationships/tags" Target="../tags/tag85.xml"/><Relationship Id="rId88" Type="http://schemas.openxmlformats.org/officeDocument/2006/relationships/tags" Target="../tags/tag90.xml"/><Relationship Id="rId111" Type="http://schemas.openxmlformats.org/officeDocument/2006/relationships/tags" Target="../tags/tag113.xml"/><Relationship Id="rId132" Type="http://schemas.openxmlformats.org/officeDocument/2006/relationships/tags" Target="../tags/tag134.xml"/><Relationship Id="rId153" Type="http://schemas.openxmlformats.org/officeDocument/2006/relationships/tags" Target="../tags/tag155.xml"/><Relationship Id="rId174" Type="http://schemas.openxmlformats.org/officeDocument/2006/relationships/tags" Target="../tags/tag176.xml"/><Relationship Id="rId179" Type="http://schemas.openxmlformats.org/officeDocument/2006/relationships/tags" Target="../tags/tag181.xml"/><Relationship Id="rId190" Type="http://schemas.openxmlformats.org/officeDocument/2006/relationships/tags" Target="../tags/tag192.xml"/><Relationship Id="rId15" Type="http://schemas.openxmlformats.org/officeDocument/2006/relationships/tags" Target="../tags/tag17.xml"/><Relationship Id="rId36" Type="http://schemas.openxmlformats.org/officeDocument/2006/relationships/tags" Target="../tags/tag38.xml"/><Relationship Id="rId57" Type="http://schemas.openxmlformats.org/officeDocument/2006/relationships/tags" Target="../tags/tag59.xml"/><Relationship Id="rId106" Type="http://schemas.openxmlformats.org/officeDocument/2006/relationships/tags" Target="../tags/tag108.xml"/><Relationship Id="rId127" Type="http://schemas.openxmlformats.org/officeDocument/2006/relationships/tags" Target="../tags/tag129.xml"/><Relationship Id="rId10" Type="http://schemas.openxmlformats.org/officeDocument/2006/relationships/tags" Target="../tags/tag12.xml"/><Relationship Id="rId31" Type="http://schemas.openxmlformats.org/officeDocument/2006/relationships/tags" Target="../tags/tag33.xml"/><Relationship Id="rId52" Type="http://schemas.openxmlformats.org/officeDocument/2006/relationships/tags" Target="../tags/tag54.xml"/><Relationship Id="rId73" Type="http://schemas.openxmlformats.org/officeDocument/2006/relationships/tags" Target="../tags/tag75.xml"/><Relationship Id="rId78" Type="http://schemas.openxmlformats.org/officeDocument/2006/relationships/tags" Target="../tags/tag80.xml"/><Relationship Id="rId94" Type="http://schemas.openxmlformats.org/officeDocument/2006/relationships/tags" Target="../tags/tag96.xml"/><Relationship Id="rId99" Type="http://schemas.openxmlformats.org/officeDocument/2006/relationships/tags" Target="../tags/tag101.xml"/><Relationship Id="rId101" Type="http://schemas.openxmlformats.org/officeDocument/2006/relationships/tags" Target="../tags/tag103.xml"/><Relationship Id="rId122" Type="http://schemas.openxmlformats.org/officeDocument/2006/relationships/tags" Target="../tags/tag124.xml"/><Relationship Id="rId143" Type="http://schemas.openxmlformats.org/officeDocument/2006/relationships/tags" Target="../tags/tag145.xml"/><Relationship Id="rId148" Type="http://schemas.openxmlformats.org/officeDocument/2006/relationships/tags" Target="../tags/tag150.xml"/><Relationship Id="rId164" Type="http://schemas.openxmlformats.org/officeDocument/2006/relationships/tags" Target="../tags/tag166.xml"/><Relationship Id="rId169" Type="http://schemas.openxmlformats.org/officeDocument/2006/relationships/tags" Target="../tags/tag171.xml"/><Relationship Id="rId185" Type="http://schemas.openxmlformats.org/officeDocument/2006/relationships/tags" Target="../tags/tag187.xml"/><Relationship Id="rId4" Type="http://schemas.openxmlformats.org/officeDocument/2006/relationships/tags" Target="../tags/tag6.xml"/><Relationship Id="rId9" Type="http://schemas.openxmlformats.org/officeDocument/2006/relationships/tags" Target="../tags/tag11.xml"/><Relationship Id="rId180" Type="http://schemas.openxmlformats.org/officeDocument/2006/relationships/tags" Target="../tags/tag182.xml"/><Relationship Id="rId26" Type="http://schemas.openxmlformats.org/officeDocument/2006/relationships/tags" Target="../tags/tag28.xml"/><Relationship Id="rId47" Type="http://schemas.openxmlformats.org/officeDocument/2006/relationships/tags" Target="../tags/tag49.xml"/><Relationship Id="rId68" Type="http://schemas.openxmlformats.org/officeDocument/2006/relationships/tags" Target="../tags/tag70.xml"/><Relationship Id="rId89" Type="http://schemas.openxmlformats.org/officeDocument/2006/relationships/tags" Target="../tags/tag91.xml"/><Relationship Id="rId112" Type="http://schemas.openxmlformats.org/officeDocument/2006/relationships/tags" Target="../tags/tag114.xml"/><Relationship Id="rId133" Type="http://schemas.openxmlformats.org/officeDocument/2006/relationships/tags" Target="../tags/tag135.xml"/><Relationship Id="rId154" Type="http://schemas.openxmlformats.org/officeDocument/2006/relationships/tags" Target="../tags/tag156.xml"/><Relationship Id="rId175" Type="http://schemas.openxmlformats.org/officeDocument/2006/relationships/tags" Target="../tags/tag177.xml"/><Relationship Id="rId16" Type="http://schemas.openxmlformats.org/officeDocument/2006/relationships/tags" Target="../tags/tag18.xml"/><Relationship Id="rId37" Type="http://schemas.openxmlformats.org/officeDocument/2006/relationships/tags" Target="../tags/tag39.xml"/><Relationship Id="rId58" Type="http://schemas.openxmlformats.org/officeDocument/2006/relationships/tags" Target="../tags/tag60.xml"/><Relationship Id="rId79" Type="http://schemas.openxmlformats.org/officeDocument/2006/relationships/tags" Target="../tags/tag81.xml"/><Relationship Id="rId102" Type="http://schemas.openxmlformats.org/officeDocument/2006/relationships/tags" Target="../tags/tag104.xml"/><Relationship Id="rId123" Type="http://schemas.openxmlformats.org/officeDocument/2006/relationships/tags" Target="../tags/tag125.xml"/><Relationship Id="rId144" Type="http://schemas.openxmlformats.org/officeDocument/2006/relationships/tags" Target="../tags/tag146.xml"/><Relationship Id="rId90" Type="http://schemas.openxmlformats.org/officeDocument/2006/relationships/tags" Target="../tags/tag92.xml"/><Relationship Id="rId165" Type="http://schemas.openxmlformats.org/officeDocument/2006/relationships/tags" Target="../tags/tag167.xml"/><Relationship Id="rId186" Type="http://schemas.openxmlformats.org/officeDocument/2006/relationships/tags" Target="../tags/tag188.xml"/><Relationship Id="rId27" Type="http://schemas.openxmlformats.org/officeDocument/2006/relationships/tags" Target="../tags/tag29.xml"/><Relationship Id="rId48" Type="http://schemas.openxmlformats.org/officeDocument/2006/relationships/tags" Target="../tags/tag50.xml"/><Relationship Id="rId69" Type="http://schemas.openxmlformats.org/officeDocument/2006/relationships/tags" Target="../tags/tag71.xml"/><Relationship Id="rId113" Type="http://schemas.openxmlformats.org/officeDocument/2006/relationships/tags" Target="../tags/tag115.xml"/><Relationship Id="rId134" Type="http://schemas.openxmlformats.org/officeDocument/2006/relationships/tags" Target="../tags/tag136.xml"/><Relationship Id="rId80" Type="http://schemas.openxmlformats.org/officeDocument/2006/relationships/tags" Target="../tags/tag82.xml"/><Relationship Id="rId155" Type="http://schemas.openxmlformats.org/officeDocument/2006/relationships/tags" Target="../tags/tag157.xml"/><Relationship Id="rId176" Type="http://schemas.openxmlformats.org/officeDocument/2006/relationships/tags" Target="../tags/tag178.xml"/><Relationship Id="rId17" Type="http://schemas.openxmlformats.org/officeDocument/2006/relationships/tags" Target="../tags/tag19.xml"/><Relationship Id="rId38" Type="http://schemas.openxmlformats.org/officeDocument/2006/relationships/tags" Target="../tags/tag40.xml"/><Relationship Id="rId59" Type="http://schemas.openxmlformats.org/officeDocument/2006/relationships/tags" Target="../tags/tag61.xml"/><Relationship Id="rId103" Type="http://schemas.openxmlformats.org/officeDocument/2006/relationships/tags" Target="../tags/tag105.xml"/><Relationship Id="rId124" Type="http://schemas.openxmlformats.org/officeDocument/2006/relationships/tags" Target="../tags/tag126.xml"/><Relationship Id="rId70" Type="http://schemas.openxmlformats.org/officeDocument/2006/relationships/tags" Target="../tags/tag72.xml"/><Relationship Id="rId91" Type="http://schemas.openxmlformats.org/officeDocument/2006/relationships/tags" Target="../tags/tag93.xml"/><Relationship Id="rId145" Type="http://schemas.openxmlformats.org/officeDocument/2006/relationships/tags" Target="../tags/tag147.xml"/><Relationship Id="rId166" Type="http://schemas.openxmlformats.org/officeDocument/2006/relationships/tags" Target="../tags/tag168.xml"/><Relationship Id="rId187" Type="http://schemas.openxmlformats.org/officeDocument/2006/relationships/tags" Target="../tags/tag189.xml"/><Relationship Id="rId1" Type="http://schemas.openxmlformats.org/officeDocument/2006/relationships/tags" Target="../tags/tag3.xml"/><Relationship Id="rId28" Type="http://schemas.openxmlformats.org/officeDocument/2006/relationships/tags" Target="../tags/tag30.xml"/><Relationship Id="rId49" Type="http://schemas.openxmlformats.org/officeDocument/2006/relationships/tags" Target="../tags/tag51.xml"/><Relationship Id="rId114" Type="http://schemas.openxmlformats.org/officeDocument/2006/relationships/tags" Target="../tags/tag116.xml"/><Relationship Id="rId60" Type="http://schemas.openxmlformats.org/officeDocument/2006/relationships/tags" Target="../tags/tag62.xml"/><Relationship Id="rId81" Type="http://schemas.openxmlformats.org/officeDocument/2006/relationships/tags" Target="../tags/tag83.xml"/><Relationship Id="rId135" Type="http://schemas.openxmlformats.org/officeDocument/2006/relationships/tags" Target="../tags/tag137.xml"/><Relationship Id="rId156" Type="http://schemas.openxmlformats.org/officeDocument/2006/relationships/tags" Target="../tags/tag158.xml"/><Relationship Id="rId177" Type="http://schemas.openxmlformats.org/officeDocument/2006/relationships/tags" Target="../tags/tag179.xml"/><Relationship Id="rId18" Type="http://schemas.openxmlformats.org/officeDocument/2006/relationships/tags" Target="../tags/tag20.xml"/><Relationship Id="rId39" Type="http://schemas.openxmlformats.org/officeDocument/2006/relationships/tags" Target="../tags/tag41.xml"/></Relationships>
</file>

<file path=ppt/slides/_rels/slide3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13.png"/><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Layout" Target="../slideLayouts/slideLayout17.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 Id="rId9" Type="http://schemas.openxmlformats.org/officeDocument/2006/relationships/image" Target="../media/image69.png"/></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3.pn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18.xml"/><Relationship Id="rId4" Type="http://schemas.openxmlformats.org/officeDocument/2006/relationships/image" Target="../media/image34.jp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5.png"/><Relationship Id="rId1" Type="http://schemas.openxmlformats.org/officeDocument/2006/relationships/slideLayout" Target="../slideLayouts/slideLayout19.xml"/><Relationship Id="rId5" Type="http://schemas.openxmlformats.org/officeDocument/2006/relationships/image" Target="../media/image32.svg"/><Relationship Id="rId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5E67B-E16E-1E4B-838A-5EA277522107}"/>
              </a:ext>
            </a:extLst>
          </p:cNvPr>
          <p:cNvSpPr>
            <a:spLocks noGrp="1"/>
          </p:cNvSpPr>
          <p:nvPr>
            <p:ph type="ctrTitle"/>
          </p:nvPr>
        </p:nvSpPr>
        <p:spPr/>
        <p:txBody>
          <a:bodyPr/>
          <a:lstStyle/>
          <a:p>
            <a:r>
              <a:rPr lang="nb-NO" dirty="0"/>
              <a:t>SAM Project Kick-Off</a:t>
            </a:r>
            <a:endParaRPr lang="en-NO" dirty="0"/>
          </a:p>
        </p:txBody>
      </p:sp>
      <p:sp>
        <p:nvSpPr>
          <p:cNvPr id="3" name="Subtitle 2">
            <a:extLst>
              <a:ext uri="{FF2B5EF4-FFF2-40B4-BE49-F238E27FC236}">
                <a16:creationId xmlns:a16="http://schemas.microsoft.com/office/drawing/2014/main" id="{C3032EE2-0E20-7048-AEC3-D9D2BD22D8A3}"/>
              </a:ext>
            </a:extLst>
          </p:cNvPr>
          <p:cNvSpPr>
            <a:spLocks noGrp="1"/>
          </p:cNvSpPr>
          <p:nvPr>
            <p:ph type="subTitle" idx="1"/>
          </p:nvPr>
        </p:nvSpPr>
        <p:spPr/>
        <p:txBody>
          <a:bodyPr/>
          <a:lstStyle/>
          <a:p>
            <a:r>
              <a:rPr lang="nb-NO" dirty="0"/>
              <a:t>Trevor Holmes</a:t>
            </a:r>
            <a:endParaRPr lang="en-NO" dirty="0"/>
          </a:p>
        </p:txBody>
      </p:sp>
    </p:spTree>
    <p:extLst>
      <p:ext uri="{BB962C8B-B14F-4D97-AF65-F5344CB8AC3E}">
        <p14:creationId xmlns:p14="http://schemas.microsoft.com/office/powerpoint/2010/main" val="11708616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a:extLst>
              <a:ext uri="{FF2B5EF4-FFF2-40B4-BE49-F238E27FC236}">
                <a16:creationId xmlns:a16="http://schemas.microsoft.com/office/drawing/2014/main" id="{7109F7C7-BB38-FB49-BF9E-01B69D22785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42206" y="3083514"/>
            <a:ext cx="2759963" cy="1780032"/>
          </a:xfrm>
          <a:prstGeom prst="rect">
            <a:avLst/>
          </a:prstGeom>
        </p:spPr>
      </p:pic>
      <p:sp>
        <p:nvSpPr>
          <p:cNvPr id="2" name="Text Placeholder 1">
            <a:extLst>
              <a:ext uri="{FF2B5EF4-FFF2-40B4-BE49-F238E27FC236}">
                <a16:creationId xmlns:a16="http://schemas.microsoft.com/office/drawing/2014/main" id="{76FF4FBA-DC5C-FD4B-8F06-9B674148BAEE}"/>
              </a:ext>
            </a:extLst>
          </p:cNvPr>
          <p:cNvSpPr>
            <a:spLocks noGrp="1"/>
          </p:cNvSpPr>
          <p:nvPr>
            <p:ph type="body" sz="quarter" idx="13"/>
          </p:nvPr>
        </p:nvSpPr>
        <p:spPr/>
        <p:txBody>
          <a:bodyPr/>
          <a:lstStyle/>
          <a:p>
            <a:r>
              <a:rPr lang="en-GB" dirty="0"/>
              <a:t>IMPLEMENTATION SCOPE</a:t>
            </a:r>
          </a:p>
        </p:txBody>
      </p:sp>
      <p:sp>
        <p:nvSpPr>
          <p:cNvPr id="4" name="Title 3">
            <a:extLst>
              <a:ext uri="{FF2B5EF4-FFF2-40B4-BE49-F238E27FC236}">
                <a16:creationId xmlns:a16="http://schemas.microsoft.com/office/drawing/2014/main" id="{D0695754-49B3-864C-8264-9C23CB09BD89}"/>
              </a:ext>
            </a:extLst>
          </p:cNvPr>
          <p:cNvSpPr>
            <a:spLocks noGrp="1"/>
          </p:cNvSpPr>
          <p:nvPr>
            <p:ph type="title"/>
          </p:nvPr>
        </p:nvSpPr>
        <p:spPr>
          <a:xfrm>
            <a:off x="547759" y="628858"/>
            <a:ext cx="7535192" cy="476147"/>
          </a:xfrm>
        </p:spPr>
        <p:txBody>
          <a:bodyPr/>
          <a:lstStyle/>
          <a:p>
            <a:pPr algn="l"/>
            <a:r>
              <a:rPr lang="en-GB" dirty="0"/>
              <a:t>What key technology stacks are we using?</a:t>
            </a:r>
          </a:p>
        </p:txBody>
      </p:sp>
      <p:pic>
        <p:nvPicPr>
          <p:cNvPr id="7" name="Image">
            <a:extLst>
              <a:ext uri="{FF2B5EF4-FFF2-40B4-BE49-F238E27FC236}">
                <a16:creationId xmlns:a16="http://schemas.microsoft.com/office/drawing/2014/main" id="{F2A888A2-46D0-C34A-9AB9-5DFDB15355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13" name="Graphic 12">
            <a:extLst>
              <a:ext uri="{FF2B5EF4-FFF2-40B4-BE49-F238E27FC236}">
                <a16:creationId xmlns:a16="http://schemas.microsoft.com/office/drawing/2014/main" id="{3F07E0A5-3419-4268-AAE4-A076312E0AD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41055" y="221526"/>
            <a:ext cx="1050960" cy="1050960"/>
          </a:xfrm>
          <a:prstGeom prst="rect">
            <a:avLst/>
          </a:prstGeom>
        </p:spPr>
      </p:pic>
      <p:graphicFrame>
        <p:nvGraphicFramePr>
          <p:cNvPr id="8" name="Table 7">
            <a:extLst>
              <a:ext uri="{FF2B5EF4-FFF2-40B4-BE49-F238E27FC236}">
                <a16:creationId xmlns:a16="http://schemas.microsoft.com/office/drawing/2014/main" id="{FC4AEEF5-BB33-4E83-8ED7-54162F51AADF}"/>
              </a:ext>
            </a:extLst>
          </p:cNvPr>
          <p:cNvGraphicFramePr>
            <a:graphicFrameLocks noGrp="1"/>
          </p:cNvGraphicFramePr>
          <p:nvPr>
            <p:extLst>
              <p:ext uri="{D42A27DB-BD31-4B8C-83A1-F6EECF244321}">
                <p14:modId xmlns:p14="http://schemas.microsoft.com/office/powerpoint/2010/main" val="363041510"/>
              </p:ext>
            </p:extLst>
          </p:nvPr>
        </p:nvGraphicFramePr>
        <p:xfrm>
          <a:off x="547759" y="1409395"/>
          <a:ext cx="7509312" cy="2471872"/>
        </p:xfrm>
        <a:graphic>
          <a:graphicData uri="http://schemas.openxmlformats.org/drawingml/2006/table">
            <a:tbl>
              <a:tblPr firstRow="1" bandRow="1">
                <a:tableStyleId>{5C22544A-7EE6-4342-B048-85BDC9FD1C3A}</a:tableStyleId>
              </a:tblPr>
              <a:tblGrid>
                <a:gridCol w="2894181">
                  <a:extLst>
                    <a:ext uri="{9D8B030D-6E8A-4147-A177-3AD203B41FA5}">
                      <a16:colId xmlns:a16="http://schemas.microsoft.com/office/drawing/2014/main" val="594456016"/>
                    </a:ext>
                  </a:extLst>
                </a:gridCol>
                <a:gridCol w="4615131">
                  <a:extLst>
                    <a:ext uri="{9D8B030D-6E8A-4147-A177-3AD203B41FA5}">
                      <a16:colId xmlns:a16="http://schemas.microsoft.com/office/drawing/2014/main" val="1073914796"/>
                    </a:ext>
                  </a:extLst>
                </a:gridCol>
              </a:tblGrid>
              <a:tr h="308984">
                <a:tc>
                  <a:txBody>
                    <a:bodyPr/>
                    <a:lstStyle/>
                    <a:p>
                      <a:r>
                        <a:rPr lang="en-US" dirty="0"/>
                        <a:t>Inventory Type</a:t>
                      </a:r>
                      <a:endParaRPr lang="en-AU" dirty="0"/>
                    </a:p>
                  </a:txBody>
                  <a:tcPr/>
                </a:tc>
                <a:tc>
                  <a:txBody>
                    <a:bodyPr/>
                    <a:lstStyle/>
                    <a:p>
                      <a:r>
                        <a:rPr lang="en-US" dirty="0"/>
                        <a:t>Data Sources</a:t>
                      </a:r>
                      <a:endParaRPr lang="en-AU" dirty="0"/>
                    </a:p>
                  </a:txBody>
                  <a:tcPr/>
                </a:tc>
                <a:extLst>
                  <a:ext uri="{0D108BD9-81ED-4DB2-BD59-A6C34878D82A}">
                    <a16:rowId xmlns:a16="http://schemas.microsoft.com/office/drawing/2014/main" val="746194369"/>
                  </a:ext>
                </a:extLst>
              </a:tr>
              <a:tr h="308984">
                <a:tc>
                  <a:txBody>
                    <a:bodyPr/>
                    <a:lstStyle/>
                    <a:p>
                      <a:r>
                        <a:rPr lang="en-US" sz="1200" dirty="0"/>
                        <a:t>Device inventory</a:t>
                      </a:r>
                      <a:endParaRPr lang="en-AU" sz="1200" dirty="0"/>
                    </a:p>
                  </a:txBody>
                  <a:tcPr/>
                </a:tc>
                <a:tc>
                  <a:txBody>
                    <a:bodyPr/>
                    <a:lstStyle/>
                    <a:p>
                      <a:r>
                        <a:rPr lang="en-US" sz="1200" dirty="0"/>
                        <a:t>e.g. SCCM</a:t>
                      </a:r>
                      <a:endParaRPr lang="en-AU" sz="1200" dirty="0"/>
                    </a:p>
                  </a:txBody>
                  <a:tcPr/>
                </a:tc>
                <a:extLst>
                  <a:ext uri="{0D108BD9-81ED-4DB2-BD59-A6C34878D82A}">
                    <a16:rowId xmlns:a16="http://schemas.microsoft.com/office/drawing/2014/main" val="2180648965"/>
                  </a:ext>
                </a:extLst>
              </a:tr>
              <a:tr h="308984">
                <a:tc>
                  <a:txBody>
                    <a:bodyPr/>
                    <a:lstStyle/>
                    <a:p>
                      <a:r>
                        <a:rPr lang="en-US" sz="1200" dirty="0"/>
                        <a:t>Application Virtualisation</a:t>
                      </a:r>
                    </a:p>
                  </a:txBody>
                  <a:tcPr/>
                </a:tc>
                <a:tc>
                  <a:txBody>
                    <a:bodyPr/>
                    <a:lstStyle/>
                    <a:p>
                      <a:r>
                        <a:rPr lang="en-US" sz="1200" dirty="0"/>
                        <a:t>e.g. Citrix XenApp, VMWare App Volumes</a:t>
                      </a:r>
                      <a:endParaRPr lang="en-AU" sz="1200" dirty="0"/>
                    </a:p>
                  </a:txBody>
                  <a:tcPr/>
                </a:tc>
                <a:extLst>
                  <a:ext uri="{0D108BD9-81ED-4DB2-BD59-A6C34878D82A}">
                    <a16:rowId xmlns:a16="http://schemas.microsoft.com/office/drawing/2014/main" val="3992107931"/>
                  </a:ext>
                </a:extLst>
              </a:tr>
              <a:tr h="308984">
                <a:tc>
                  <a:txBody>
                    <a:bodyPr/>
                    <a:lstStyle/>
                    <a:p>
                      <a:r>
                        <a:rPr lang="en-US" sz="1200" dirty="0"/>
                        <a:t>Desktop Virtualisation</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200" dirty="0"/>
                        <a:t>e.g. Citrix </a:t>
                      </a:r>
                      <a:r>
                        <a:rPr lang="en-US" sz="1200" dirty="0" err="1"/>
                        <a:t>XenDesktop</a:t>
                      </a:r>
                      <a:r>
                        <a:rPr lang="en-US" sz="1200" dirty="0"/>
                        <a:t>, VMWare Horizon</a:t>
                      </a:r>
                      <a:endParaRPr lang="en-AU" sz="1200" dirty="0"/>
                    </a:p>
                  </a:txBody>
                  <a:tcPr/>
                </a:tc>
                <a:extLst>
                  <a:ext uri="{0D108BD9-81ED-4DB2-BD59-A6C34878D82A}">
                    <a16:rowId xmlns:a16="http://schemas.microsoft.com/office/drawing/2014/main" val="4017240611"/>
                  </a:ext>
                </a:extLst>
              </a:tr>
              <a:tr h="308984">
                <a:tc>
                  <a:txBody>
                    <a:bodyPr/>
                    <a:lstStyle/>
                    <a:p>
                      <a:r>
                        <a:rPr lang="en-US" sz="1200" dirty="0"/>
                        <a:t>Cloud Server Infrastructure</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200" dirty="0"/>
                        <a:t>e.g. Microsoft Azure, AWS</a:t>
                      </a:r>
                      <a:endParaRPr lang="en-AU" sz="1200" dirty="0"/>
                    </a:p>
                  </a:txBody>
                  <a:tcPr/>
                </a:tc>
                <a:extLst>
                  <a:ext uri="{0D108BD9-81ED-4DB2-BD59-A6C34878D82A}">
                    <a16:rowId xmlns:a16="http://schemas.microsoft.com/office/drawing/2014/main" val="3322664593"/>
                  </a:ext>
                </a:extLst>
              </a:tr>
              <a:tr h="308984">
                <a:tc>
                  <a:txBody>
                    <a:bodyPr/>
                    <a:lstStyle/>
                    <a:p>
                      <a:r>
                        <a:rPr lang="en-US" sz="1200" dirty="0"/>
                        <a:t>On-prem Server Infrastructure</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200" dirty="0"/>
                        <a:t>e.g.  VMWare, Hyper-V</a:t>
                      </a:r>
                      <a:endParaRPr lang="en-AU" sz="1200" dirty="0"/>
                    </a:p>
                  </a:txBody>
                  <a:tcPr/>
                </a:tc>
                <a:extLst>
                  <a:ext uri="{0D108BD9-81ED-4DB2-BD59-A6C34878D82A}">
                    <a16:rowId xmlns:a16="http://schemas.microsoft.com/office/drawing/2014/main" val="486554975"/>
                  </a:ext>
                </a:extLst>
              </a:tr>
              <a:tr h="308984">
                <a:tc>
                  <a:txBody>
                    <a:bodyPr/>
                    <a:lstStyle/>
                    <a:p>
                      <a:r>
                        <a:rPr lang="en-US" sz="1200" dirty="0"/>
                        <a:t>Containerization</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200" dirty="0"/>
                        <a:t>e.g. Docker, Kubernetes, Rancher, AWS, etc.</a:t>
                      </a:r>
                      <a:endParaRPr lang="en-AU" sz="1200" dirty="0"/>
                    </a:p>
                  </a:txBody>
                  <a:tcPr/>
                </a:tc>
                <a:extLst>
                  <a:ext uri="{0D108BD9-81ED-4DB2-BD59-A6C34878D82A}">
                    <a16:rowId xmlns:a16="http://schemas.microsoft.com/office/drawing/2014/main" val="220881175"/>
                  </a:ext>
                </a:extLst>
              </a:tr>
              <a:tr h="308984">
                <a:tc>
                  <a:txBody>
                    <a:bodyPr/>
                    <a:lstStyle/>
                    <a:p>
                      <a:r>
                        <a:rPr lang="en-US" sz="1200" dirty="0"/>
                        <a:t>Cloud Software Services</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AU" sz="1200" dirty="0"/>
                        <a:t>e.g. Microsoft 365</a:t>
                      </a:r>
                    </a:p>
                  </a:txBody>
                  <a:tcPr/>
                </a:tc>
                <a:extLst>
                  <a:ext uri="{0D108BD9-81ED-4DB2-BD59-A6C34878D82A}">
                    <a16:rowId xmlns:a16="http://schemas.microsoft.com/office/drawing/2014/main" val="3398339412"/>
                  </a:ext>
                </a:extLst>
              </a:tr>
            </a:tbl>
          </a:graphicData>
        </a:graphic>
      </p:graphicFrame>
    </p:spTree>
    <p:extLst>
      <p:ext uri="{BB962C8B-B14F-4D97-AF65-F5344CB8AC3E}">
        <p14:creationId xmlns:p14="http://schemas.microsoft.com/office/powerpoint/2010/main" val="1329673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a:extLst>
              <a:ext uri="{FF2B5EF4-FFF2-40B4-BE49-F238E27FC236}">
                <a16:creationId xmlns:a16="http://schemas.microsoft.com/office/drawing/2014/main" id="{7109F7C7-BB38-FB49-BF9E-01B69D22785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42206" y="3083514"/>
            <a:ext cx="2759963" cy="1780032"/>
          </a:xfrm>
          <a:prstGeom prst="rect">
            <a:avLst/>
          </a:prstGeom>
        </p:spPr>
      </p:pic>
      <p:sp>
        <p:nvSpPr>
          <p:cNvPr id="2" name="Text Placeholder 1">
            <a:extLst>
              <a:ext uri="{FF2B5EF4-FFF2-40B4-BE49-F238E27FC236}">
                <a16:creationId xmlns:a16="http://schemas.microsoft.com/office/drawing/2014/main" id="{76FF4FBA-DC5C-FD4B-8F06-9B674148BAEE}"/>
              </a:ext>
            </a:extLst>
          </p:cNvPr>
          <p:cNvSpPr>
            <a:spLocks noGrp="1"/>
          </p:cNvSpPr>
          <p:nvPr>
            <p:ph type="body" sz="quarter" idx="13"/>
          </p:nvPr>
        </p:nvSpPr>
        <p:spPr/>
        <p:txBody>
          <a:bodyPr/>
          <a:lstStyle/>
          <a:p>
            <a:r>
              <a:rPr lang="en-GB" dirty="0"/>
              <a:t>IMPLEMENTATION SCOPE</a:t>
            </a:r>
          </a:p>
        </p:txBody>
      </p:sp>
      <p:sp>
        <p:nvSpPr>
          <p:cNvPr id="4" name="Title 3">
            <a:extLst>
              <a:ext uri="{FF2B5EF4-FFF2-40B4-BE49-F238E27FC236}">
                <a16:creationId xmlns:a16="http://schemas.microsoft.com/office/drawing/2014/main" id="{D0695754-49B3-864C-8264-9C23CB09BD89}"/>
              </a:ext>
            </a:extLst>
          </p:cNvPr>
          <p:cNvSpPr>
            <a:spLocks noGrp="1"/>
          </p:cNvSpPr>
          <p:nvPr>
            <p:ph type="title"/>
          </p:nvPr>
        </p:nvSpPr>
        <p:spPr>
          <a:xfrm>
            <a:off x="547759" y="628858"/>
            <a:ext cx="7535192" cy="476147"/>
          </a:xfrm>
        </p:spPr>
        <p:txBody>
          <a:bodyPr/>
          <a:lstStyle/>
          <a:p>
            <a:pPr algn="l"/>
            <a:r>
              <a:rPr lang="en-GB" dirty="0"/>
              <a:t>What are the key systems manage business data?</a:t>
            </a:r>
          </a:p>
        </p:txBody>
      </p:sp>
      <p:pic>
        <p:nvPicPr>
          <p:cNvPr id="7" name="Image">
            <a:extLst>
              <a:ext uri="{FF2B5EF4-FFF2-40B4-BE49-F238E27FC236}">
                <a16:creationId xmlns:a16="http://schemas.microsoft.com/office/drawing/2014/main" id="{F2A888A2-46D0-C34A-9AB9-5DFDB15355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13" name="Graphic 12">
            <a:extLst>
              <a:ext uri="{FF2B5EF4-FFF2-40B4-BE49-F238E27FC236}">
                <a16:creationId xmlns:a16="http://schemas.microsoft.com/office/drawing/2014/main" id="{3F07E0A5-3419-4268-AAE4-A076312E0AD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41055" y="221526"/>
            <a:ext cx="1050960" cy="1050960"/>
          </a:xfrm>
          <a:prstGeom prst="rect">
            <a:avLst/>
          </a:prstGeom>
        </p:spPr>
      </p:pic>
      <p:graphicFrame>
        <p:nvGraphicFramePr>
          <p:cNvPr id="14" name="Table 13">
            <a:extLst>
              <a:ext uri="{FF2B5EF4-FFF2-40B4-BE49-F238E27FC236}">
                <a16:creationId xmlns:a16="http://schemas.microsoft.com/office/drawing/2014/main" id="{7C77BE45-BEF3-4D43-9A56-E7F12D9305D3}"/>
              </a:ext>
            </a:extLst>
          </p:cNvPr>
          <p:cNvGraphicFramePr>
            <a:graphicFrameLocks noGrp="1"/>
          </p:cNvGraphicFramePr>
          <p:nvPr>
            <p:extLst>
              <p:ext uri="{D42A27DB-BD31-4B8C-83A1-F6EECF244321}">
                <p14:modId xmlns:p14="http://schemas.microsoft.com/office/powerpoint/2010/main" val="937442836"/>
              </p:ext>
            </p:extLst>
          </p:nvPr>
        </p:nvGraphicFramePr>
        <p:xfrm>
          <a:off x="547759" y="1633966"/>
          <a:ext cx="7509312" cy="2267034"/>
        </p:xfrm>
        <a:graphic>
          <a:graphicData uri="http://schemas.openxmlformats.org/drawingml/2006/table">
            <a:tbl>
              <a:tblPr firstRow="1" bandRow="1">
                <a:tableStyleId>{5C22544A-7EE6-4342-B048-85BDC9FD1C3A}</a:tableStyleId>
              </a:tblPr>
              <a:tblGrid>
                <a:gridCol w="2894181">
                  <a:extLst>
                    <a:ext uri="{9D8B030D-6E8A-4147-A177-3AD203B41FA5}">
                      <a16:colId xmlns:a16="http://schemas.microsoft.com/office/drawing/2014/main" val="594456016"/>
                    </a:ext>
                  </a:extLst>
                </a:gridCol>
                <a:gridCol w="4615131">
                  <a:extLst>
                    <a:ext uri="{9D8B030D-6E8A-4147-A177-3AD203B41FA5}">
                      <a16:colId xmlns:a16="http://schemas.microsoft.com/office/drawing/2014/main" val="1073914796"/>
                    </a:ext>
                  </a:extLst>
                </a:gridCol>
              </a:tblGrid>
              <a:tr h="323862">
                <a:tc>
                  <a:txBody>
                    <a:bodyPr/>
                    <a:lstStyle/>
                    <a:p>
                      <a:r>
                        <a:rPr lang="en-US" dirty="0"/>
                        <a:t>Business Record Type</a:t>
                      </a:r>
                      <a:endParaRPr lang="en-AU" dirty="0"/>
                    </a:p>
                  </a:txBody>
                  <a:tcPr/>
                </a:tc>
                <a:tc>
                  <a:txBody>
                    <a:bodyPr/>
                    <a:lstStyle/>
                    <a:p>
                      <a:r>
                        <a:rPr lang="en-US" dirty="0"/>
                        <a:t>Data Sources</a:t>
                      </a:r>
                      <a:endParaRPr lang="en-AU" dirty="0"/>
                    </a:p>
                  </a:txBody>
                  <a:tcPr/>
                </a:tc>
                <a:extLst>
                  <a:ext uri="{0D108BD9-81ED-4DB2-BD59-A6C34878D82A}">
                    <a16:rowId xmlns:a16="http://schemas.microsoft.com/office/drawing/2014/main" val="746194369"/>
                  </a:ext>
                </a:extLst>
              </a:tr>
              <a:tr h="323862">
                <a:tc>
                  <a:txBody>
                    <a:bodyPr/>
                    <a:lstStyle/>
                    <a:p>
                      <a:r>
                        <a:rPr lang="en-US" sz="1200" dirty="0"/>
                        <a:t>Assets</a:t>
                      </a:r>
                      <a:endParaRPr lang="en-AU" sz="1200" dirty="0"/>
                    </a:p>
                  </a:txBody>
                  <a:tcPr/>
                </a:tc>
                <a:tc>
                  <a:txBody>
                    <a:bodyPr/>
                    <a:lstStyle/>
                    <a:p>
                      <a:r>
                        <a:rPr lang="en-US" sz="1200" dirty="0"/>
                        <a:t>e.g. ServiceNow</a:t>
                      </a:r>
                      <a:endParaRPr lang="en-AU" sz="1200" dirty="0"/>
                    </a:p>
                  </a:txBody>
                  <a:tcPr/>
                </a:tc>
                <a:extLst>
                  <a:ext uri="{0D108BD9-81ED-4DB2-BD59-A6C34878D82A}">
                    <a16:rowId xmlns:a16="http://schemas.microsoft.com/office/drawing/2014/main" val="2180648965"/>
                  </a:ext>
                </a:extLst>
              </a:tr>
              <a:tr h="323862">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200" dirty="0"/>
                        <a:t>Purchases</a:t>
                      </a:r>
                      <a:endParaRPr lang="en-AU" sz="12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extLst>
                  <a:ext uri="{0D108BD9-81ED-4DB2-BD59-A6C34878D82A}">
                    <a16:rowId xmlns:a16="http://schemas.microsoft.com/office/drawing/2014/main" val="2716096727"/>
                  </a:ext>
                </a:extLst>
              </a:tr>
              <a:tr h="323862">
                <a:tc>
                  <a:txBody>
                    <a:bodyPr/>
                    <a:lstStyle/>
                    <a:p>
                      <a:r>
                        <a:rPr lang="en-US" sz="1200" dirty="0"/>
                        <a:t>Contracts</a:t>
                      </a:r>
                    </a:p>
                  </a:txBody>
                  <a:tcPr/>
                </a:tc>
                <a:tc>
                  <a:txBody>
                    <a:bodyPr/>
                    <a:lstStyle/>
                    <a:p>
                      <a:endParaRPr lang="en-AU" sz="1200" dirty="0"/>
                    </a:p>
                  </a:txBody>
                  <a:tcPr/>
                </a:tc>
                <a:extLst>
                  <a:ext uri="{0D108BD9-81ED-4DB2-BD59-A6C34878D82A}">
                    <a16:rowId xmlns:a16="http://schemas.microsoft.com/office/drawing/2014/main" val="3992107931"/>
                  </a:ext>
                </a:extLst>
              </a:tr>
              <a:tr h="323862">
                <a:tc>
                  <a:txBody>
                    <a:bodyPr/>
                    <a:lstStyle/>
                    <a:p>
                      <a:r>
                        <a:rPr lang="en-US" sz="1200" dirty="0"/>
                        <a:t>Users</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200" dirty="0"/>
                        <a:t>e.g. PeopleSoft</a:t>
                      </a:r>
                      <a:endParaRPr lang="en-AU" sz="1200" dirty="0"/>
                    </a:p>
                  </a:txBody>
                  <a:tcPr/>
                </a:tc>
                <a:extLst>
                  <a:ext uri="{0D108BD9-81ED-4DB2-BD59-A6C34878D82A}">
                    <a16:rowId xmlns:a16="http://schemas.microsoft.com/office/drawing/2014/main" val="4017240611"/>
                  </a:ext>
                </a:extLst>
              </a:tr>
              <a:tr h="323862">
                <a:tc>
                  <a:txBody>
                    <a:bodyPr/>
                    <a:lstStyle/>
                    <a:p>
                      <a:r>
                        <a:rPr lang="en-US" sz="1200" dirty="0"/>
                        <a:t>Vendors</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extLst>
                  <a:ext uri="{0D108BD9-81ED-4DB2-BD59-A6C34878D82A}">
                    <a16:rowId xmlns:a16="http://schemas.microsoft.com/office/drawing/2014/main" val="3322664593"/>
                  </a:ext>
                </a:extLst>
              </a:tr>
              <a:tr h="323862">
                <a:tc>
                  <a:txBody>
                    <a:bodyPr/>
                    <a:lstStyle/>
                    <a:p>
                      <a:r>
                        <a:rPr lang="en-US" sz="1200" dirty="0"/>
                        <a:t>Enterprise Groups</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extLst>
                  <a:ext uri="{0D108BD9-81ED-4DB2-BD59-A6C34878D82A}">
                    <a16:rowId xmlns:a16="http://schemas.microsoft.com/office/drawing/2014/main" val="486554975"/>
                  </a:ext>
                </a:extLst>
              </a:tr>
            </a:tbl>
          </a:graphicData>
        </a:graphic>
      </p:graphicFrame>
    </p:spTree>
    <p:extLst>
      <p:ext uri="{BB962C8B-B14F-4D97-AF65-F5344CB8AC3E}">
        <p14:creationId xmlns:p14="http://schemas.microsoft.com/office/powerpoint/2010/main" val="23808417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a:extLst>
              <a:ext uri="{FF2B5EF4-FFF2-40B4-BE49-F238E27FC236}">
                <a16:creationId xmlns:a16="http://schemas.microsoft.com/office/drawing/2014/main" id="{7109F7C7-BB38-FB49-BF9E-01B69D22785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42206" y="3083514"/>
            <a:ext cx="2759963" cy="1780032"/>
          </a:xfrm>
          <a:prstGeom prst="rect">
            <a:avLst/>
          </a:prstGeom>
        </p:spPr>
      </p:pic>
      <p:sp>
        <p:nvSpPr>
          <p:cNvPr id="2" name="Text Placeholder 1">
            <a:extLst>
              <a:ext uri="{FF2B5EF4-FFF2-40B4-BE49-F238E27FC236}">
                <a16:creationId xmlns:a16="http://schemas.microsoft.com/office/drawing/2014/main" id="{76FF4FBA-DC5C-FD4B-8F06-9B674148BAEE}"/>
              </a:ext>
            </a:extLst>
          </p:cNvPr>
          <p:cNvSpPr>
            <a:spLocks noGrp="1"/>
          </p:cNvSpPr>
          <p:nvPr>
            <p:ph type="body" sz="quarter" idx="13"/>
          </p:nvPr>
        </p:nvSpPr>
        <p:spPr/>
        <p:txBody>
          <a:bodyPr/>
          <a:lstStyle/>
          <a:p>
            <a:r>
              <a:rPr lang="en-GB" dirty="0"/>
              <a:t>IMPLEMENTATION SCOPE</a:t>
            </a:r>
          </a:p>
        </p:txBody>
      </p:sp>
      <p:sp>
        <p:nvSpPr>
          <p:cNvPr id="4" name="Title 3">
            <a:extLst>
              <a:ext uri="{FF2B5EF4-FFF2-40B4-BE49-F238E27FC236}">
                <a16:creationId xmlns:a16="http://schemas.microsoft.com/office/drawing/2014/main" id="{D0695754-49B3-864C-8264-9C23CB09BD89}"/>
              </a:ext>
            </a:extLst>
          </p:cNvPr>
          <p:cNvSpPr>
            <a:spLocks noGrp="1"/>
          </p:cNvSpPr>
          <p:nvPr>
            <p:ph type="title"/>
          </p:nvPr>
        </p:nvSpPr>
        <p:spPr>
          <a:xfrm>
            <a:off x="547759" y="628858"/>
            <a:ext cx="7535192" cy="476147"/>
          </a:xfrm>
        </p:spPr>
        <p:txBody>
          <a:bodyPr/>
          <a:lstStyle/>
          <a:p>
            <a:pPr algn="l"/>
            <a:r>
              <a:rPr lang="en-GB" dirty="0"/>
              <a:t>What types of Inventory Devices are we managing?</a:t>
            </a:r>
          </a:p>
        </p:txBody>
      </p:sp>
      <p:pic>
        <p:nvPicPr>
          <p:cNvPr id="7" name="Image">
            <a:extLst>
              <a:ext uri="{FF2B5EF4-FFF2-40B4-BE49-F238E27FC236}">
                <a16:creationId xmlns:a16="http://schemas.microsoft.com/office/drawing/2014/main" id="{F2A888A2-46D0-C34A-9AB9-5DFDB15355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13" name="Graphic 12">
            <a:extLst>
              <a:ext uri="{FF2B5EF4-FFF2-40B4-BE49-F238E27FC236}">
                <a16:creationId xmlns:a16="http://schemas.microsoft.com/office/drawing/2014/main" id="{3F07E0A5-3419-4268-AAE4-A076312E0AD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41055" y="221526"/>
            <a:ext cx="1050960" cy="1050960"/>
          </a:xfrm>
          <a:prstGeom prst="rect">
            <a:avLst/>
          </a:prstGeom>
        </p:spPr>
      </p:pic>
      <p:graphicFrame>
        <p:nvGraphicFramePr>
          <p:cNvPr id="14" name="Table 13">
            <a:extLst>
              <a:ext uri="{FF2B5EF4-FFF2-40B4-BE49-F238E27FC236}">
                <a16:creationId xmlns:a16="http://schemas.microsoft.com/office/drawing/2014/main" id="{7C77BE45-BEF3-4D43-9A56-E7F12D9305D3}"/>
              </a:ext>
            </a:extLst>
          </p:cNvPr>
          <p:cNvGraphicFramePr>
            <a:graphicFrameLocks noGrp="1"/>
          </p:cNvGraphicFramePr>
          <p:nvPr>
            <p:extLst>
              <p:ext uri="{D42A27DB-BD31-4B8C-83A1-F6EECF244321}">
                <p14:modId xmlns:p14="http://schemas.microsoft.com/office/powerpoint/2010/main" val="344527460"/>
              </p:ext>
            </p:extLst>
          </p:nvPr>
        </p:nvGraphicFramePr>
        <p:xfrm>
          <a:off x="547759" y="1700674"/>
          <a:ext cx="7509312" cy="1968140"/>
        </p:xfrm>
        <a:graphic>
          <a:graphicData uri="http://schemas.openxmlformats.org/drawingml/2006/table">
            <a:tbl>
              <a:tblPr firstRow="1" bandRow="1">
                <a:tableStyleId>{5C22544A-7EE6-4342-B048-85BDC9FD1C3A}</a:tableStyleId>
              </a:tblPr>
              <a:tblGrid>
                <a:gridCol w="6154965">
                  <a:extLst>
                    <a:ext uri="{9D8B030D-6E8A-4147-A177-3AD203B41FA5}">
                      <a16:colId xmlns:a16="http://schemas.microsoft.com/office/drawing/2014/main" val="594456016"/>
                    </a:ext>
                  </a:extLst>
                </a:gridCol>
                <a:gridCol w="1354347">
                  <a:extLst>
                    <a:ext uri="{9D8B030D-6E8A-4147-A177-3AD203B41FA5}">
                      <a16:colId xmlns:a16="http://schemas.microsoft.com/office/drawing/2014/main" val="1073914796"/>
                    </a:ext>
                  </a:extLst>
                </a:gridCol>
              </a:tblGrid>
              <a:tr h="366305">
                <a:tc>
                  <a:txBody>
                    <a:bodyPr/>
                    <a:lstStyle/>
                    <a:p>
                      <a:r>
                        <a:rPr lang="en-US" dirty="0"/>
                        <a:t>Device Type</a:t>
                      </a:r>
                      <a:endParaRPr lang="en-AU" dirty="0"/>
                    </a:p>
                  </a:txBody>
                  <a:tcPr/>
                </a:tc>
                <a:tc>
                  <a:txBody>
                    <a:bodyPr/>
                    <a:lstStyle/>
                    <a:p>
                      <a:r>
                        <a:rPr lang="en-US" dirty="0"/>
                        <a:t>Estimated number</a:t>
                      </a:r>
                      <a:endParaRPr lang="en-AU" dirty="0"/>
                    </a:p>
                  </a:txBody>
                  <a:tcPr/>
                </a:tc>
                <a:extLst>
                  <a:ext uri="{0D108BD9-81ED-4DB2-BD59-A6C34878D82A}">
                    <a16:rowId xmlns:a16="http://schemas.microsoft.com/office/drawing/2014/main" val="746194369"/>
                  </a:ext>
                </a:extLst>
              </a:tr>
              <a:tr h="366305">
                <a:tc>
                  <a:txBody>
                    <a:bodyPr/>
                    <a:lstStyle/>
                    <a:p>
                      <a:r>
                        <a:rPr lang="en-US" sz="1300" dirty="0"/>
                        <a:t>Desktops and laptops</a:t>
                      </a:r>
                      <a:endParaRPr lang="en-AU" sz="1300" dirty="0"/>
                    </a:p>
                  </a:txBody>
                  <a:tcPr/>
                </a:tc>
                <a:tc>
                  <a:txBody>
                    <a:bodyPr/>
                    <a:lstStyle/>
                    <a:p>
                      <a:r>
                        <a:rPr lang="en-US" sz="1300" dirty="0"/>
                        <a:t>###</a:t>
                      </a:r>
                      <a:endParaRPr lang="en-AU" sz="1300" dirty="0"/>
                    </a:p>
                  </a:txBody>
                  <a:tcPr/>
                </a:tc>
                <a:extLst>
                  <a:ext uri="{0D108BD9-81ED-4DB2-BD59-A6C34878D82A}">
                    <a16:rowId xmlns:a16="http://schemas.microsoft.com/office/drawing/2014/main" val="2180648965"/>
                  </a:ext>
                </a:extLst>
              </a:tr>
              <a:tr h="366305">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300" dirty="0"/>
                        <a:t>Virtual Desktops</a:t>
                      </a:r>
                      <a:endParaRPr lang="en-AU" sz="13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300" dirty="0"/>
                        <a:t>###</a:t>
                      </a:r>
                      <a:endParaRPr lang="en-AU" sz="1300" dirty="0"/>
                    </a:p>
                  </a:txBody>
                  <a:tcPr/>
                </a:tc>
                <a:extLst>
                  <a:ext uri="{0D108BD9-81ED-4DB2-BD59-A6C34878D82A}">
                    <a16:rowId xmlns:a16="http://schemas.microsoft.com/office/drawing/2014/main" val="2716096727"/>
                  </a:ext>
                </a:extLst>
              </a:tr>
              <a:tr h="366305">
                <a:tc>
                  <a:txBody>
                    <a:bodyPr/>
                    <a:lstStyle/>
                    <a:p>
                      <a:r>
                        <a:rPr lang="en-US" sz="1300" dirty="0"/>
                        <a:t>Servers</a:t>
                      </a:r>
                      <a:r>
                        <a:rPr lang="en-AU" sz="1300" dirty="0"/>
                        <a:t> – on-prem</a:t>
                      </a:r>
                      <a:endParaRPr lang="en-US" sz="1300" dirty="0"/>
                    </a:p>
                  </a:txBody>
                  <a:tcPr/>
                </a:tc>
                <a:tc>
                  <a:txBody>
                    <a:bodyPr/>
                    <a:lstStyle/>
                    <a:p>
                      <a:r>
                        <a:rPr lang="en-US" sz="1300" dirty="0"/>
                        <a:t>###</a:t>
                      </a:r>
                      <a:endParaRPr lang="en-AU" sz="1300" dirty="0"/>
                    </a:p>
                  </a:txBody>
                  <a:tcPr/>
                </a:tc>
                <a:extLst>
                  <a:ext uri="{0D108BD9-81ED-4DB2-BD59-A6C34878D82A}">
                    <a16:rowId xmlns:a16="http://schemas.microsoft.com/office/drawing/2014/main" val="3992107931"/>
                  </a:ext>
                </a:extLst>
              </a:tr>
              <a:tr h="366305">
                <a:tc>
                  <a:txBody>
                    <a:bodyPr/>
                    <a:lstStyle/>
                    <a:p>
                      <a:r>
                        <a:rPr lang="en-US" sz="1300" dirty="0"/>
                        <a:t>Servers – cloud hosted</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300" dirty="0"/>
                        <a:t>###</a:t>
                      </a:r>
                      <a:endParaRPr lang="en-AU" sz="1300" dirty="0"/>
                    </a:p>
                  </a:txBody>
                  <a:tcPr/>
                </a:tc>
                <a:extLst>
                  <a:ext uri="{0D108BD9-81ED-4DB2-BD59-A6C34878D82A}">
                    <a16:rowId xmlns:a16="http://schemas.microsoft.com/office/drawing/2014/main" val="4017240611"/>
                  </a:ext>
                </a:extLst>
              </a:tr>
            </a:tbl>
          </a:graphicData>
        </a:graphic>
      </p:graphicFrame>
    </p:spTree>
    <p:extLst>
      <p:ext uri="{BB962C8B-B14F-4D97-AF65-F5344CB8AC3E}">
        <p14:creationId xmlns:p14="http://schemas.microsoft.com/office/powerpoint/2010/main" val="42586686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a:extLst>
              <a:ext uri="{FF2B5EF4-FFF2-40B4-BE49-F238E27FC236}">
                <a16:creationId xmlns:a16="http://schemas.microsoft.com/office/drawing/2014/main" id="{7109F7C7-BB38-FB49-BF9E-01B69D22785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42206" y="3083514"/>
            <a:ext cx="2759963" cy="1780032"/>
          </a:xfrm>
          <a:prstGeom prst="rect">
            <a:avLst/>
          </a:prstGeom>
        </p:spPr>
      </p:pic>
      <p:sp>
        <p:nvSpPr>
          <p:cNvPr id="2" name="Text Placeholder 1">
            <a:extLst>
              <a:ext uri="{FF2B5EF4-FFF2-40B4-BE49-F238E27FC236}">
                <a16:creationId xmlns:a16="http://schemas.microsoft.com/office/drawing/2014/main" id="{76FF4FBA-DC5C-FD4B-8F06-9B674148BAEE}"/>
              </a:ext>
            </a:extLst>
          </p:cNvPr>
          <p:cNvSpPr>
            <a:spLocks noGrp="1"/>
          </p:cNvSpPr>
          <p:nvPr>
            <p:ph type="body" sz="quarter" idx="13"/>
          </p:nvPr>
        </p:nvSpPr>
        <p:spPr/>
        <p:txBody>
          <a:bodyPr/>
          <a:lstStyle/>
          <a:p>
            <a:r>
              <a:rPr lang="en-GB" dirty="0"/>
              <a:t>IMPLEMENTATION SCOPE</a:t>
            </a:r>
          </a:p>
        </p:txBody>
      </p:sp>
      <p:sp>
        <p:nvSpPr>
          <p:cNvPr id="4" name="Title 3">
            <a:extLst>
              <a:ext uri="{FF2B5EF4-FFF2-40B4-BE49-F238E27FC236}">
                <a16:creationId xmlns:a16="http://schemas.microsoft.com/office/drawing/2014/main" id="{D0695754-49B3-864C-8264-9C23CB09BD89}"/>
              </a:ext>
            </a:extLst>
          </p:cNvPr>
          <p:cNvSpPr>
            <a:spLocks noGrp="1"/>
          </p:cNvSpPr>
          <p:nvPr>
            <p:ph type="title"/>
          </p:nvPr>
        </p:nvSpPr>
        <p:spPr>
          <a:xfrm>
            <a:off x="547759" y="628858"/>
            <a:ext cx="7535192" cy="476147"/>
          </a:xfrm>
        </p:spPr>
        <p:txBody>
          <a:bodyPr/>
          <a:lstStyle/>
          <a:p>
            <a:pPr algn="l"/>
            <a:r>
              <a:rPr lang="en-GB" dirty="0"/>
              <a:t>What operating systems are we managing?</a:t>
            </a:r>
          </a:p>
        </p:txBody>
      </p:sp>
      <p:pic>
        <p:nvPicPr>
          <p:cNvPr id="7" name="Image">
            <a:extLst>
              <a:ext uri="{FF2B5EF4-FFF2-40B4-BE49-F238E27FC236}">
                <a16:creationId xmlns:a16="http://schemas.microsoft.com/office/drawing/2014/main" id="{F2A888A2-46D0-C34A-9AB9-5DFDB15355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13" name="Graphic 12">
            <a:extLst>
              <a:ext uri="{FF2B5EF4-FFF2-40B4-BE49-F238E27FC236}">
                <a16:creationId xmlns:a16="http://schemas.microsoft.com/office/drawing/2014/main" id="{3F07E0A5-3419-4268-AAE4-A076312E0AD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41055" y="221526"/>
            <a:ext cx="1050960" cy="1050960"/>
          </a:xfrm>
          <a:prstGeom prst="rect">
            <a:avLst/>
          </a:prstGeom>
        </p:spPr>
      </p:pic>
      <p:graphicFrame>
        <p:nvGraphicFramePr>
          <p:cNvPr id="14" name="Table 13">
            <a:extLst>
              <a:ext uri="{FF2B5EF4-FFF2-40B4-BE49-F238E27FC236}">
                <a16:creationId xmlns:a16="http://schemas.microsoft.com/office/drawing/2014/main" id="{7C77BE45-BEF3-4D43-9A56-E7F12D9305D3}"/>
              </a:ext>
            </a:extLst>
          </p:cNvPr>
          <p:cNvGraphicFramePr>
            <a:graphicFrameLocks noGrp="1"/>
          </p:cNvGraphicFramePr>
          <p:nvPr>
            <p:extLst>
              <p:ext uri="{D42A27DB-BD31-4B8C-83A1-F6EECF244321}">
                <p14:modId xmlns:p14="http://schemas.microsoft.com/office/powerpoint/2010/main" val="848316097"/>
              </p:ext>
            </p:extLst>
          </p:nvPr>
        </p:nvGraphicFramePr>
        <p:xfrm>
          <a:off x="547759" y="1384093"/>
          <a:ext cx="6957222" cy="2555147"/>
        </p:xfrm>
        <a:graphic>
          <a:graphicData uri="http://schemas.openxmlformats.org/drawingml/2006/table">
            <a:tbl>
              <a:tblPr firstRow="1" bandRow="1">
                <a:tableStyleId>{5C22544A-7EE6-4342-B048-85BDC9FD1C3A}</a:tableStyleId>
              </a:tblPr>
              <a:tblGrid>
                <a:gridCol w="5680513">
                  <a:extLst>
                    <a:ext uri="{9D8B030D-6E8A-4147-A177-3AD203B41FA5}">
                      <a16:colId xmlns:a16="http://schemas.microsoft.com/office/drawing/2014/main" val="594456016"/>
                    </a:ext>
                  </a:extLst>
                </a:gridCol>
                <a:gridCol w="1276709">
                  <a:extLst>
                    <a:ext uri="{9D8B030D-6E8A-4147-A177-3AD203B41FA5}">
                      <a16:colId xmlns:a16="http://schemas.microsoft.com/office/drawing/2014/main" val="1073914796"/>
                    </a:ext>
                  </a:extLst>
                </a:gridCol>
              </a:tblGrid>
              <a:tr h="464678">
                <a:tc>
                  <a:txBody>
                    <a:bodyPr/>
                    <a:lstStyle/>
                    <a:p>
                      <a:r>
                        <a:rPr lang="en-US" dirty="0"/>
                        <a:t>Operating System</a:t>
                      </a:r>
                      <a:endParaRPr lang="en-AU" dirty="0"/>
                    </a:p>
                  </a:txBody>
                  <a:tcPr/>
                </a:tc>
                <a:tc>
                  <a:txBody>
                    <a:bodyPr/>
                    <a:lstStyle/>
                    <a:p>
                      <a:r>
                        <a:rPr lang="en-US" dirty="0"/>
                        <a:t>Estimated number</a:t>
                      </a:r>
                      <a:endParaRPr lang="en-AU" dirty="0"/>
                    </a:p>
                  </a:txBody>
                  <a:tcPr/>
                </a:tc>
                <a:extLst>
                  <a:ext uri="{0D108BD9-81ED-4DB2-BD59-A6C34878D82A}">
                    <a16:rowId xmlns:a16="http://schemas.microsoft.com/office/drawing/2014/main" val="746194369"/>
                  </a:ext>
                </a:extLst>
              </a:tr>
              <a:tr h="338451">
                <a:tc>
                  <a:txBody>
                    <a:bodyPr/>
                    <a:lstStyle/>
                    <a:p>
                      <a:r>
                        <a:rPr lang="en-US" sz="1200" dirty="0"/>
                        <a:t>Windows</a:t>
                      </a:r>
                      <a:endParaRPr lang="en-AU" sz="1200" dirty="0"/>
                    </a:p>
                  </a:txBody>
                  <a:tcPr/>
                </a:tc>
                <a:tc>
                  <a:txBody>
                    <a:bodyPr/>
                    <a:lstStyle/>
                    <a:p>
                      <a:r>
                        <a:rPr lang="en-US" sz="1200" dirty="0"/>
                        <a:t>###</a:t>
                      </a:r>
                      <a:endParaRPr lang="en-AU" sz="1200" dirty="0"/>
                    </a:p>
                  </a:txBody>
                  <a:tcPr/>
                </a:tc>
                <a:extLst>
                  <a:ext uri="{0D108BD9-81ED-4DB2-BD59-A6C34878D82A}">
                    <a16:rowId xmlns:a16="http://schemas.microsoft.com/office/drawing/2014/main" val="2180648965"/>
                  </a:ext>
                </a:extLst>
              </a:tr>
              <a:tr h="338451">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200" dirty="0"/>
                        <a:t>Oracle Linux</a:t>
                      </a:r>
                      <a:endParaRPr lang="en-AU" sz="12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200" dirty="0"/>
                        <a:t>###</a:t>
                      </a:r>
                      <a:endParaRPr lang="en-AU" sz="1200" dirty="0"/>
                    </a:p>
                  </a:txBody>
                  <a:tcPr/>
                </a:tc>
                <a:extLst>
                  <a:ext uri="{0D108BD9-81ED-4DB2-BD59-A6C34878D82A}">
                    <a16:rowId xmlns:a16="http://schemas.microsoft.com/office/drawing/2014/main" val="2716096727"/>
                  </a:ext>
                </a:extLst>
              </a:tr>
              <a:tr h="338451">
                <a:tc>
                  <a:txBody>
                    <a:bodyPr/>
                    <a:lstStyle/>
                    <a:p>
                      <a:r>
                        <a:rPr lang="en-US" sz="1200" dirty="0" err="1"/>
                        <a:t>Redhat</a:t>
                      </a:r>
                      <a:endParaRPr lang="en-US" sz="1200" dirty="0"/>
                    </a:p>
                  </a:txBody>
                  <a:tcPr/>
                </a:tc>
                <a:tc>
                  <a:txBody>
                    <a:bodyPr/>
                    <a:lstStyle/>
                    <a:p>
                      <a:r>
                        <a:rPr lang="en-US" sz="1200" dirty="0"/>
                        <a:t>###</a:t>
                      </a:r>
                      <a:endParaRPr lang="en-AU" sz="1200" dirty="0"/>
                    </a:p>
                  </a:txBody>
                  <a:tcPr/>
                </a:tc>
                <a:extLst>
                  <a:ext uri="{0D108BD9-81ED-4DB2-BD59-A6C34878D82A}">
                    <a16:rowId xmlns:a16="http://schemas.microsoft.com/office/drawing/2014/main" val="3992107931"/>
                  </a:ext>
                </a:extLst>
              </a:tr>
              <a:tr h="359972">
                <a:tc>
                  <a:txBody>
                    <a:bodyPr/>
                    <a:lstStyle/>
                    <a:p>
                      <a:r>
                        <a:rPr lang="en-US" sz="1200" dirty="0"/>
                        <a:t>AIX</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200" dirty="0"/>
                        <a:t>###</a:t>
                      </a:r>
                      <a:endParaRPr lang="en-AU" sz="1200" dirty="0"/>
                    </a:p>
                  </a:txBody>
                  <a:tcPr/>
                </a:tc>
                <a:extLst>
                  <a:ext uri="{0D108BD9-81ED-4DB2-BD59-A6C34878D82A}">
                    <a16:rowId xmlns:a16="http://schemas.microsoft.com/office/drawing/2014/main" val="4017240611"/>
                  </a:ext>
                </a:extLst>
              </a:tr>
              <a:tr h="338451">
                <a:tc>
                  <a:txBody>
                    <a:bodyPr/>
                    <a:lstStyle/>
                    <a:p>
                      <a:r>
                        <a:rPr lang="en-US" sz="1200" dirty="0"/>
                        <a:t>Solaris</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200" dirty="0"/>
                        <a:t>###</a:t>
                      </a:r>
                      <a:endParaRPr lang="en-AU" sz="1200" dirty="0"/>
                    </a:p>
                  </a:txBody>
                  <a:tcPr/>
                </a:tc>
                <a:extLst>
                  <a:ext uri="{0D108BD9-81ED-4DB2-BD59-A6C34878D82A}">
                    <a16:rowId xmlns:a16="http://schemas.microsoft.com/office/drawing/2014/main" val="515303905"/>
                  </a:ext>
                </a:extLst>
              </a:tr>
              <a:tr h="338451">
                <a:tc>
                  <a:txBody>
                    <a:bodyPr/>
                    <a:lstStyle/>
                    <a:p>
                      <a:r>
                        <a:rPr lang="en-US" sz="1200" dirty="0"/>
                        <a:t>Others</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200" dirty="0"/>
                        <a:t>###</a:t>
                      </a:r>
                      <a:endParaRPr lang="en-AU" sz="1200" dirty="0"/>
                    </a:p>
                  </a:txBody>
                  <a:tcPr/>
                </a:tc>
                <a:extLst>
                  <a:ext uri="{0D108BD9-81ED-4DB2-BD59-A6C34878D82A}">
                    <a16:rowId xmlns:a16="http://schemas.microsoft.com/office/drawing/2014/main" val="1697388940"/>
                  </a:ext>
                </a:extLst>
              </a:tr>
            </a:tbl>
          </a:graphicData>
        </a:graphic>
      </p:graphicFrame>
    </p:spTree>
    <p:extLst>
      <p:ext uri="{BB962C8B-B14F-4D97-AF65-F5344CB8AC3E}">
        <p14:creationId xmlns:p14="http://schemas.microsoft.com/office/powerpoint/2010/main" val="9278601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a:extLst>
              <a:ext uri="{FF2B5EF4-FFF2-40B4-BE49-F238E27FC236}">
                <a16:creationId xmlns:a16="http://schemas.microsoft.com/office/drawing/2014/main" id="{7109F7C7-BB38-FB49-BF9E-01B69D22785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42206" y="3083514"/>
            <a:ext cx="2759963" cy="1780032"/>
          </a:xfrm>
          <a:prstGeom prst="rect">
            <a:avLst/>
          </a:prstGeom>
        </p:spPr>
      </p:pic>
      <p:sp>
        <p:nvSpPr>
          <p:cNvPr id="2" name="Text Placeholder 1">
            <a:extLst>
              <a:ext uri="{FF2B5EF4-FFF2-40B4-BE49-F238E27FC236}">
                <a16:creationId xmlns:a16="http://schemas.microsoft.com/office/drawing/2014/main" id="{76FF4FBA-DC5C-FD4B-8F06-9B674148BAEE}"/>
              </a:ext>
            </a:extLst>
          </p:cNvPr>
          <p:cNvSpPr>
            <a:spLocks noGrp="1"/>
          </p:cNvSpPr>
          <p:nvPr>
            <p:ph type="body" sz="quarter" idx="13"/>
          </p:nvPr>
        </p:nvSpPr>
        <p:spPr/>
        <p:txBody>
          <a:bodyPr/>
          <a:lstStyle/>
          <a:p>
            <a:r>
              <a:rPr lang="en-GB" dirty="0"/>
              <a:t>IMPLEMENTATION SCOPE</a:t>
            </a:r>
          </a:p>
        </p:txBody>
      </p:sp>
      <p:sp>
        <p:nvSpPr>
          <p:cNvPr id="4" name="Title 3">
            <a:extLst>
              <a:ext uri="{FF2B5EF4-FFF2-40B4-BE49-F238E27FC236}">
                <a16:creationId xmlns:a16="http://schemas.microsoft.com/office/drawing/2014/main" id="{D0695754-49B3-864C-8264-9C23CB09BD89}"/>
              </a:ext>
            </a:extLst>
          </p:cNvPr>
          <p:cNvSpPr>
            <a:spLocks noGrp="1"/>
          </p:cNvSpPr>
          <p:nvPr>
            <p:ph type="title"/>
          </p:nvPr>
        </p:nvSpPr>
        <p:spPr>
          <a:xfrm>
            <a:off x="547759" y="628858"/>
            <a:ext cx="7535192" cy="476147"/>
          </a:xfrm>
        </p:spPr>
        <p:txBody>
          <a:bodyPr/>
          <a:lstStyle/>
          <a:p>
            <a:pPr algn="l"/>
            <a:r>
              <a:rPr lang="en-GB" dirty="0"/>
              <a:t>What other integrations are needed?</a:t>
            </a:r>
          </a:p>
        </p:txBody>
      </p:sp>
      <p:pic>
        <p:nvPicPr>
          <p:cNvPr id="7" name="Image">
            <a:extLst>
              <a:ext uri="{FF2B5EF4-FFF2-40B4-BE49-F238E27FC236}">
                <a16:creationId xmlns:a16="http://schemas.microsoft.com/office/drawing/2014/main" id="{F2A888A2-46D0-C34A-9AB9-5DFDB15355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13" name="Graphic 12">
            <a:extLst>
              <a:ext uri="{FF2B5EF4-FFF2-40B4-BE49-F238E27FC236}">
                <a16:creationId xmlns:a16="http://schemas.microsoft.com/office/drawing/2014/main" id="{3F07E0A5-3419-4268-AAE4-A076312E0AD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41055" y="221526"/>
            <a:ext cx="1050960" cy="1050960"/>
          </a:xfrm>
          <a:prstGeom prst="rect">
            <a:avLst/>
          </a:prstGeom>
        </p:spPr>
      </p:pic>
      <p:graphicFrame>
        <p:nvGraphicFramePr>
          <p:cNvPr id="8" name="Table 7">
            <a:extLst>
              <a:ext uri="{FF2B5EF4-FFF2-40B4-BE49-F238E27FC236}">
                <a16:creationId xmlns:a16="http://schemas.microsoft.com/office/drawing/2014/main" id="{FC4AEEF5-BB33-4E83-8ED7-54162F51AADF}"/>
              </a:ext>
            </a:extLst>
          </p:cNvPr>
          <p:cNvGraphicFramePr>
            <a:graphicFrameLocks noGrp="1"/>
          </p:cNvGraphicFramePr>
          <p:nvPr>
            <p:extLst>
              <p:ext uri="{D42A27DB-BD31-4B8C-83A1-F6EECF244321}">
                <p14:modId xmlns:p14="http://schemas.microsoft.com/office/powerpoint/2010/main" val="269614497"/>
              </p:ext>
            </p:extLst>
          </p:nvPr>
        </p:nvGraphicFramePr>
        <p:xfrm>
          <a:off x="547759" y="1409395"/>
          <a:ext cx="7509312" cy="1831525"/>
        </p:xfrm>
        <a:graphic>
          <a:graphicData uri="http://schemas.openxmlformats.org/drawingml/2006/table">
            <a:tbl>
              <a:tblPr firstRow="1" bandRow="1">
                <a:tableStyleId>{5C22544A-7EE6-4342-B048-85BDC9FD1C3A}</a:tableStyleId>
              </a:tblPr>
              <a:tblGrid>
                <a:gridCol w="2894181">
                  <a:extLst>
                    <a:ext uri="{9D8B030D-6E8A-4147-A177-3AD203B41FA5}">
                      <a16:colId xmlns:a16="http://schemas.microsoft.com/office/drawing/2014/main" val="594456016"/>
                    </a:ext>
                  </a:extLst>
                </a:gridCol>
                <a:gridCol w="4615131">
                  <a:extLst>
                    <a:ext uri="{9D8B030D-6E8A-4147-A177-3AD203B41FA5}">
                      <a16:colId xmlns:a16="http://schemas.microsoft.com/office/drawing/2014/main" val="1073914796"/>
                    </a:ext>
                  </a:extLst>
                </a:gridCol>
              </a:tblGrid>
              <a:tr h="366305">
                <a:tc>
                  <a:txBody>
                    <a:bodyPr/>
                    <a:lstStyle/>
                    <a:p>
                      <a:r>
                        <a:rPr lang="en-US" dirty="0"/>
                        <a:t>Integration Type</a:t>
                      </a:r>
                      <a:endParaRPr lang="en-AU" dirty="0"/>
                    </a:p>
                  </a:txBody>
                  <a:tcPr/>
                </a:tc>
                <a:tc>
                  <a:txBody>
                    <a:bodyPr/>
                    <a:lstStyle/>
                    <a:p>
                      <a:r>
                        <a:rPr lang="en-US" dirty="0"/>
                        <a:t>System to integrate with</a:t>
                      </a:r>
                      <a:endParaRPr lang="en-AU" dirty="0"/>
                    </a:p>
                  </a:txBody>
                  <a:tcPr/>
                </a:tc>
                <a:extLst>
                  <a:ext uri="{0D108BD9-81ED-4DB2-BD59-A6C34878D82A}">
                    <a16:rowId xmlns:a16="http://schemas.microsoft.com/office/drawing/2014/main" val="746194369"/>
                  </a:ext>
                </a:extLst>
              </a:tr>
              <a:tr h="366305">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300" dirty="0"/>
                        <a:t>Software Requests</a:t>
                      </a:r>
                      <a:endParaRPr lang="en-AU" sz="13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300" dirty="0"/>
                        <a:t>e.g. ServiceNow, App Portal, Jira</a:t>
                      </a:r>
                      <a:endParaRPr lang="en-AU" sz="1300" dirty="0"/>
                    </a:p>
                  </a:txBody>
                  <a:tcPr/>
                </a:tc>
                <a:extLst>
                  <a:ext uri="{0D108BD9-81ED-4DB2-BD59-A6C34878D82A}">
                    <a16:rowId xmlns:a16="http://schemas.microsoft.com/office/drawing/2014/main" val="2716096727"/>
                  </a:ext>
                </a:extLst>
              </a:tr>
              <a:tr h="366305">
                <a:tc>
                  <a:txBody>
                    <a:bodyPr/>
                    <a:lstStyle/>
                    <a:p>
                      <a:r>
                        <a:rPr lang="en-US" sz="1300" dirty="0"/>
                        <a:t>Configuration Management</a:t>
                      </a:r>
                    </a:p>
                  </a:txBody>
                  <a:tcPr/>
                </a:tc>
                <a:tc>
                  <a:txBody>
                    <a:bodyPr/>
                    <a:lstStyle/>
                    <a:p>
                      <a:r>
                        <a:rPr lang="en-US" sz="1300" dirty="0"/>
                        <a:t>e.g. ServiceNow</a:t>
                      </a:r>
                      <a:endParaRPr lang="en-AU" sz="1300" dirty="0"/>
                    </a:p>
                  </a:txBody>
                  <a:tcPr/>
                </a:tc>
                <a:extLst>
                  <a:ext uri="{0D108BD9-81ED-4DB2-BD59-A6C34878D82A}">
                    <a16:rowId xmlns:a16="http://schemas.microsoft.com/office/drawing/2014/main" val="3992107931"/>
                  </a:ext>
                </a:extLst>
              </a:tr>
              <a:tr h="366305">
                <a:tc>
                  <a:txBody>
                    <a:bodyPr/>
                    <a:lstStyle/>
                    <a:p>
                      <a:r>
                        <a:rPr lang="en-US" sz="1300" dirty="0"/>
                        <a:t>Budgeting and forecasting tools</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300" dirty="0"/>
                        <a:t>e.g. </a:t>
                      </a:r>
                      <a:r>
                        <a:rPr lang="en-US" sz="1300" dirty="0" err="1"/>
                        <a:t>Aptio</a:t>
                      </a:r>
                      <a:endParaRPr lang="en-AU" sz="1300" dirty="0"/>
                    </a:p>
                  </a:txBody>
                  <a:tcPr/>
                </a:tc>
                <a:extLst>
                  <a:ext uri="{0D108BD9-81ED-4DB2-BD59-A6C34878D82A}">
                    <a16:rowId xmlns:a16="http://schemas.microsoft.com/office/drawing/2014/main" val="4017240611"/>
                  </a:ext>
                </a:extLst>
              </a:tr>
              <a:tr h="366305">
                <a:tc>
                  <a:txBody>
                    <a:bodyPr/>
                    <a:lstStyle/>
                    <a:p>
                      <a:r>
                        <a:rPr lang="en-US" sz="1300" dirty="0"/>
                        <a:t>Others?</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300" dirty="0"/>
                    </a:p>
                  </a:txBody>
                  <a:tcPr/>
                </a:tc>
                <a:extLst>
                  <a:ext uri="{0D108BD9-81ED-4DB2-BD59-A6C34878D82A}">
                    <a16:rowId xmlns:a16="http://schemas.microsoft.com/office/drawing/2014/main" val="3322664593"/>
                  </a:ext>
                </a:extLst>
              </a:tr>
            </a:tbl>
          </a:graphicData>
        </a:graphic>
      </p:graphicFrame>
    </p:spTree>
    <p:extLst>
      <p:ext uri="{BB962C8B-B14F-4D97-AF65-F5344CB8AC3E}">
        <p14:creationId xmlns:p14="http://schemas.microsoft.com/office/powerpoint/2010/main" val="32822994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9" name="object 299"/>
          <p:cNvSpPr/>
          <p:nvPr/>
        </p:nvSpPr>
        <p:spPr>
          <a:xfrm>
            <a:off x="0" y="42259"/>
            <a:ext cx="9144000" cy="5143500"/>
          </a:xfrm>
          <a:custGeom>
            <a:avLst/>
            <a:gdLst/>
            <a:ahLst/>
            <a:cxnLst/>
            <a:rect l="l" t="t" r="r" b="b"/>
            <a:pathLst>
              <a:path w="9144000" h="5143500">
                <a:moveTo>
                  <a:pt x="0" y="5143500"/>
                </a:moveTo>
                <a:lnTo>
                  <a:pt x="0" y="0"/>
                </a:lnTo>
                <a:lnTo>
                  <a:pt x="9144000" y="0"/>
                </a:lnTo>
                <a:lnTo>
                  <a:pt x="9144000" y="5143500"/>
                </a:lnTo>
                <a:lnTo>
                  <a:pt x="0" y="5143500"/>
                </a:lnTo>
                <a:close/>
              </a:path>
            </a:pathLst>
          </a:custGeom>
          <a:solidFill>
            <a:srgbClr val="FFFFFF"/>
          </a:solidFill>
        </p:spPr>
        <p:txBody>
          <a:bodyPr wrap="square" lIns="0" tIns="0" rIns="0" bIns="0" rtlCol="0">
            <a:noAutofit/>
          </a:bodyPr>
          <a:lstStyle/>
          <a:p>
            <a:endParaRPr/>
          </a:p>
        </p:txBody>
      </p:sp>
      <p:pic>
        <p:nvPicPr>
          <p:cNvPr id="372"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78212" y="4717193"/>
            <a:ext cx="1165860" cy="384048"/>
          </a:xfrm>
          <a:prstGeom prst="rect">
            <a:avLst/>
          </a:prstGeom>
        </p:spPr>
      </p:pic>
      <p:pic>
        <p:nvPicPr>
          <p:cNvPr id="13" name="Picture Placeholder 9">
            <a:extLst>
              <a:ext uri="{FF2B5EF4-FFF2-40B4-BE49-F238E27FC236}">
                <a16:creationId xmlns:a16="http://schemas.microsoft.com/office/drawing/2014/main" id="{BFA859C6-D89E-417A-B0BF-8CE6CF628DB2}"/>
              </a:ext>
            </a:extLst>
          </p:cNvPr>
          <p:cNvPicPr>
            <a:picLocks noChangeAspect="1"/>
          </p:cNvPicPr>
          <p:nvPr/>
        </p:nvPicPr>
        <p:blipFill>
          <a:blip r:embed="rId3"/>
          <a:srcRect l="20382" r="20382"/>
          <a:stretch>
            <a:fillRect/>
          </a:stretch>
        </p:blipFill>
        <p:spPr>
          <a:xfrm>
            <a:off x="4572000" y="0"/>
            <a:ext cx="4572000" cy="5143500"/>
          </a:xfrm>
          <a:prstGeom prst="rect">
            <a:avLst/>
          </a:prstGeom>
        </p:spPr>
      </p:pic>
      <p:sp>
        <p:nvSpPr>
          <p:cNvPr id="14" name="text 1">
            <a:extLst>
              <a:ext uri="{FF2B5EF4-FFF2-40B4-BE49-F238E27FC236}">
                <a16:creationId xmlns:a16="http://schemas.microsoft.com/office/drawing/2014/main" id="{0D5E23E5-161F-446B-8810-0EBE344B2517}"/>
              </a:ext>
            </a:extLst>
          </p:cNvPr>
          <p:cNvSpPr txBox="1"/>
          <p:nvPr/>
        </p:nvSpPr>
        <p:spPr>
          <a:xfrm>
            <a:off x="190054" y="326681"/>
            <a:ext cx="3668440" cy="430887"/>
          </a:xfrm>
          <a:prstGeom prst="rect">
            <a:avLst/>
          </a:prstGeom>
        </p:spPr>
        <p:txBody>
          <a:bodyPr vert="horz" wrap="none" lIns="0" tIns="0" rIns="0" bIns="0" rtlCol="0">
            <a:spAutoFit/>
          </a:bodyPr>
          <a:lstStyle/>
          <a:p>
            <a:pPr marL="0">
              <a:lnSpc>
                <a:spcPct val="100000"/>
              </a:lnSpc>
            </a:pPr>
            <a:r>
              <a:rPr lang="en-AU" sz="2800" b="1" spc="10" dirty="0">
                <a:solidFill>
                  <a:srgbClr val="FF6A4C"/>
                </a:solidFill>
                <a:latin typeface="Arial"/>
                <a:cs typeface="Arial"/>
              </a:rPr>
              <a:t>Solution Architecture</a:t>
            </a:r>
            <a:endParaRPr sz="2800" b="1" dirty="0">
              <a:solidFill>
                <a:srgbClr val="FF6A4C"/>
              </a:solidFill>
              <a:latin typeface="Arial"/>
              <a:cs typeface="Arial"/>
            </a:endParaRPr>
          </a:p>
        </p:txBody>
      </p:sp>
      <p:sp>
        <p:nvSpPr>
          <p:cNvPr id="15" name="text 1">
            <a:extLst>
              <a:ext uri="{FF2B5EF4-FFF2-40B4-BE49-F238E27FC236}">
                <a16:creationId xmlns:a16="http://schemas.microsoft.com/office/drawing/2014/main" id="{CE3600B2-AA97-4B9C-8B10-18D0CFB42A54}"/>
              </a:ext>
            </a:extLst>
          </p:cNvPr>
          <p:cNvSpPr txBox="1"/>
          <p:nvPr/>
        </p:nvSpPr>
        <p:spPr>
          <a:xfrm>
            <a:off x="490818" y="1612819"/>
            <a:ext cx="3625326" cy="1338828"/>
          </a:xfrm>
          <a:prstGeom prst="rect">
            <a:avLst/>
          </a:prstGeom>
        </p:spPr>
        <p:txBody>
          <a:bodyPr vert="horz" wrap="square" lIns="0" tIns="0" rIns="0" bIns="0" rtlCol="0">
            <a:spAutoFit/>
          </a:bodyPr>
          <a:lstStyle/>
          <a:p>
            <a:pPr marL="342900" indent="-342900">
              <a:lnSpc>
                <a:spcPct val="100000"/>
              </a:lnSpc>
              <a:spcAft>
                <a:spcPts val="600"/>
              </a:spcAft>
              <a:buFont typeface="+mj-lt"/>
              <a:buAutoNum type="arabicPeriod"/>
            </a:pPr>
            <a:r>
              <a:rPr lang="en-US" sz="1800" spc="10" dirty="0">
                <a:solidFill>
                  <a:srgbClr val="094E5D"/>
                </a:solidFill>
                <a:latin typeface="Arial"/>
                <a:cs typeface="Arial"/>
              </a:rPr>
              <a:t>Starter – SAM Data Model</a:t>
            </a:r>
          </a:p>
          <a:p>
            <a:pPr marL="342900" indent="-342900">
              <a:lnSpc>
                <a:spcPct val="100000"/>
              </a:lnSpc>
              <a:spcAft>
                <a:spcPts val="600"/>
              </a:spcAft>
              <a:buFont typeface="+mj-lt"/>
              <a:buAutoNum type="arabicPeriod"/>
            </a:pPr>
            <a:r>
              <a:rPr lang="en-US" sz="1800" spc="10" dirty="0">
                <a:solidFill>
                  <a:srgbClr val="094E5D"/>
                </a:solidFill>
                <a:latin typeface="Arial"/>
                <a:cs typeface="Arial"/>
              </a:rPr>
              <a:t>Asset Number ?</a:t>
            </a:r>
          </a:p>
          <a:p>
            <a:pPr marL="342900" indent="-342900">
              <a:lnSpc>
                <a:spcPct val="100000"/>
              </a:lnSpc>
              <a:spcAft>
                <a:spcPts val="600"/>
              </a:spcAft>
              <a:buFont typeface="+mj-lt"/>
              <a:buAutoNum type="arabicPeriod"/>
            </a:pPr>
            <a:r>
              <a:rPr lang="en-US" sz="1800" spc="10" dirty="0">
                <a:solidFill>
                  <a:srgbClr val="094E5D"/>
                </a:solidFill>
                <a:latin typeface="Arial"/>
                <a:cs typeface="Arial"/>
              </a:rPr>
              <a:t>Data System Connections ?</a:t>
            </a:r>
          </a:p>
          <a:p>
            <a:pPr marL="342900" indent="-342900">
              <a:lnSpc>
                <a:spcPct val="100000"/>
              </a:lnSpc>
              <a:spcAft>
                <a:spcPts val="600"/>
              </a:spcAft>
              <a:buFont typeface="+mj-lt"/>
              <a:buAutoNum type="arabicPeriod"/>
            </a:pPr>
            <a:r>
              <a:rPr lang="en-US" sz="1800" spc="10" dirty="0">
                <a:solidFill>
                  <a:srgbClr val="094E5D"/>
                </a:solidFill>
                <a:latin typeface="Arial"/>
                <a:cs typeface="Arial"/>
              </a:rPr>
              <a:t>Software Vendors ?</a:t>
            </a:r>
          </a:p>
        </p:txBody>
      </p:sp>
      <p:pic>
        <p:nvPicPr>
          <p:cNvPr id="16" name="Graphic 15">
            <a:extLst>
              <a:ext uri="{FF2B5EF4-FFF2-40B4-BE49-F238E27FC236}">
                <a16:creationId xmlns:a16="http://schemas.microsoft.com/office/drawing/2014/main" id="{4CC5E5F1-65ED-48F3-A19E-C00E2BFAE89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773" y="4002069"/>
            <a:ext cx="1019055" cy="1019055"/>
          </a:xfrm>
          <a:prstGeom prst="rect">
            <a:avLst/>
          </a:prstGeom>
        </p:spPr>
      </p:pic>
    </p:spTree>
    <p:extLst>
      <p:ext uri="{BB962C8B-B14F-4D97-AF65-F5344CB8AC3E}">
        <p14:creationId xmlns:p14="http://schemas.microsoft.com/office/powerpoint/2010/main" val="35104879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FF4FBA-DC5C-FD4B-8F06-9B674148BAEE}"/>
              </a:ext>
            </a:extLst>
          </p:cNvPr>
          <p:cNvSpPr>
            <a:spLocks noGrp="1"/>
          </p:cNvSpPr>
          <p:nvPr>
            <p:ph type="body" sz="quarter" idx="13"/>
          </p:nvPr>
        </p:nvSpPr>
        <p:spPr>
          <a:xfrm>
            <a:off x="105883" y="109320"/>
            <a:ext cx="2016818" cy="199842"/>
          </a:xfrm>
        </p:spPr>
        <p:txBody>
          <a:bodyPr/>
          <a:lstStyle/>
          <a:p>
            <a:pPr>
              <a:spcBef>
                <a:spcPts val="600"/>
              </a:spcBef>
            </a:pPr>
            <a:r>
              <a:rPr lang="en-GB" dirty="0"/>
              <a:t>IMPLEMENTATION SCOPE</a:t>
            </a:r>
          </a:p>
        </p:txBody>
      </p:sp>
      <p:pic>
        <p:nvPicPr>
          <p:cNvPr id="7" name="Image">
            <a:extLst>
              <a:ext uri="{FF2B5EF4-FFF2-40B4-BE49-F238E27FC236}">
                <a16:creationId xmlns:a16="http://schemas.microsoft.com/office/drawing/2014/main" id="{F2A888A2-46D0-C34A-9AB9-5DFDB153557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671290"/>
            <a:ext cx="1165860" cy="384048"/>
          </a:xfrm>
          <a:prstGeom prst="rect">
            <a:avLst/>
          </a:prstGeom>
        </p:spPr>
      </p:pic>
      <p:pic>
        <p:nvPicPr>
          <p:cNvPr id="12" name="Graphic 11">
            <a:extLst>
              <a:ext uri="{FF2B5EF4-FFF2-40B4-BE49-F238E27FC236}">
                <a16:creationId xmlns:a16="http://schemas.microsoft.com/office/drawing/2014/main" id="{A8A2D6B5-E259-45D7-889F-B3A454D8542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47132" y="144780"/>
            <a:ext cx="788438" cy="788438"/>
          </a:xfrm>
          <a:prstGeom prst="rect">
            <a:avLst/>
          </a:prstGeom>
        </p:spPr>
      </p:pic>
      <p:grpSp>
        <p:nvGrpSpPr>
          <p:cNvPr id="13" name="Group 12">
            <a:extLst>
              <a:ext uri="{FF2B5EF4-FFF2-40B4-BE49-F238E27FC236}">
                <a16:creationId xmlns:a16="http://schemas.microsoft.com/office/drawing/2014/main" id="{EDBA0E86-7669-4F2A-974C-C3664B86E381}"/>
              </a:ext>
            </a:extLst>
          </p:cNvPr>
          <p:cNvGrpSpPr/>
          <p:nvPr/>
        </p:nvGrpSpPr>
        <p:grpSpPr>
          <a:xfrm>
            <a:off x="211729" y="788986"/>
            <a:ext cx="8766273" cy="4030125"/>
            <a:chOff x="211729" y="788986"/>
            <a:chExt cx="8766273" cy="4030125"/>
          </a:xfrm>
        </p:grpSpPr>
        <p:sp>
          <p:nvSpPr>
            <p:cNvPr id="14" name="Rectangle 13">
              <a:extLst>
                <a:ext uri="{FF2B5EF4-FFF2-40B4-BE49-F238E27FC236}">
                  <a16:creationId xmlns:a16="http://schemas.microsoft.com/office/drawing/2014/main" id="{771BE081-0F95-4C48-B69A-29467CE048CD}"/>
                </a:ext>
              </a:extLst>
            </p:cNvPr>
            <p:cNvSpPr/>
            <p:nvPr/>
          </p:nvSpPr>
          <p:spPr>
            <a:xfrm>
              <a:off x="6823178" y="2926376"/>
              <a:ext cx="2154824" cy="1892735"/>
            </a:xfrm>
            <a:prstGeom prst="rect">
              <a:avLst/>
            </a:prstGeom>
            <a:solidFill>
              <a:srgbClr val="FFFA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5" name="TextBox 14">
              <a:extLst>
                <a:ext uri="{FF2B5EF4-FFF2-40B4-BE49-F238E27FC236}">
                  <a16:creationId xmlns:a16="http://schemas.microsoft.com/office/drawing/2014/main" id="{308F56BB-26CD-40BA-8BD2-A997A951E8D4}"/>
                </a:ext>
              </a:extLst>
            </p:cNvPr>
            <p:cNvSpPr txBox="1"/>
            <p:nvPr/>
          </p:nvSpPr>
          <p:spPr>
            <a:xfrm>
              <a:off x="1496798" y="788986"/>
              <a:ext cx="780323" cy="246221"/>
            </a:xfrm>
            <a:prstGeom prst="rect">
              <a:avLst/>
            </a:prstGeom>
            <a:noFill/>
          </p:spPr>
          <p:txBody>
            <a:bodyPr wrap="square" rtlCol="0">
              <a:spAutoFit/>
            </a:bodyPr>
            <a:lstStyle/>
            <a:p>
              <a:pPr algn="l"/>
              <a:r>
                <a:rPr lang="en-AU" sz="1000" b="1" dirty="0">
                  <a:solidFill>
                    <a:srgbClr val="094E5D"/>
                  </a:solidFill>
                </a:rPr>
                <a:t>Cloud</a:t>
              </a:r>
            </a:p>
          </p:txBody>
        </p:sp>
        <p:sp>
          <p:nvSpPr>
            <p:cNvPr id="16" name="Rectangle 15">
              <a:extLst>
                <a:ext uri="{FF2B5EF4-FFF2-40B4-BE49-F238E27FC236}">
                  <a16:creationId xmlns:a16="http://schemas.microsoft.com/office/drawing/2014/main" id="{634B7A00-1200-436B-A94D-B9AC60262F1C}"/>
                </a:ext>
              </a:extLst>
            </p:cNvPr>
            <p:cNvSpPr/>
            <p:nvPr/>
          </p:nvSpPr>
          <p:spPr>
            <a:xfrm>
              <a:off x="3167842" y="1464020"/>
              <a:ext cx="3583118" cy="311273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7" name="TextBox 16">
              <a:extLst>
                <a:ext uri="{FF2B5EF4-FFF2-40B4-BE49-F238E27FC236}">
                  <a16:creationId xmlns:a16="http://schemas.microsoft.com/office/drawing/2014/main" id="{4552ECF4-17C8-4E0B-BD1F-4CA56B462D44}"/>
                </a:ext>
              </a:extLst>
            </p:cNvPr>
            <p:cNvSpPr txBox="1"/>
            <p:nvPr/>
          </p:nvSpPr>
          <p:spPr>
            <a:xfrm>
              <a:off x="5368114" y="1983349"/>
              <a:ext cx="1327608" cy="215444"/>
            </a:xfrm>
            <a:prstGeom prst="rect">
              <a:avLst/>
            </a:prstGeom>
            <a:noFill/>
          </p:spPr>
          <p:txBody>
            <a:bodyPr wrap="none" rtlCol="0">
              <a:spAutoFit/>
            </a:bodyPr>
            <a:lstStyle/>
            <a:p>
              <a:r>
                <a:rPr lang="en-GB" sz="800" b="1" dirty="0"/>
                <a:t>svr0000001pr.acme.com</a:t>
              </a:r>
              <a:endParaRPr lang="en-AU" sz="800" b="1" dirty="0">
                <a:solidFill>
                  <a:srgbClr val="094E5D"/>
                </a:solidFill>
              </a:endParaRPr>
            </a:p>
          </p:txBody>
        </p:sp>
        <p:sp>
          <p:nvSpPr>
            <p:cNvPr id="18" name="Rectangle: Rounded Corners 17">
              <a:extLst>
                <a:ext uri="{FF2B5EF4-FFF2-40B4-BE49-F238E27FC236}">
                  <a16:creationId xmlns:a16="http://schemas.microsoft.com/office/drawing/2014/main" id="{8847862D-2DF2-4BBE-ADE3-35B541AB2B95}"/>
                </a:ext>
              </a:extLst>
            </p:cNvPr>
            <p:cNvSpPr/>
            <p:nvPr/>
          </p:nvSpPr>
          <p:spPr>
            <a:xfrm>
              <a:off x="3380091" y="1380291"/>
              <a:ext cx="999506" cy="24206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b="1" dirty="0">
                  <a:solidFill>
                    <a:schemeClr val="tx1"/>
                  </a:solidFill>
                </a:rPr>
                <a:t>PRODUCTION</a:t>
              </a:r>
            </a:p>
          </p:txBody>
        </p:sp>
        <p:sp>
          <p:nvSpPr>
            <p:cNvPr id="19" name="TextBox 18">
              <a:extLst>
                <a:ext uri="{FF2B5EF4-FFF2-40B4-BE49-F238E27FC236}">
                  <a16:creationId xmlns:a16="http://schemas.microsoft.com/office/drawing/2014/main" id="{1BF77D20-679E-4A27-BD24-38276B10D366}"/>
                </a:ext>
              </a:extLst>
            </p:cNvPr>
            <p:cNvSpPr txBox="1"/>
            <p:nvPr/>
          </p:nvSpPr>
          <p:spPr>
            <a:xfrm>
              <a:off x="5524376" y="1844718"/>
              <a:ext cx="1180131" cy="246221"/>
            </a:xfrm>
            <a:prstGeom prst="rect">
              <a:avLst/>
            </a:prstGeom>
            <a:noFill/>
          </p:spPr>
          <p:txBody>
            <a:bodyPr wrap="none" rtlCol="0">
              <a:spAutoFit/>
            </a:bodyPr>
            <a:lstStyle/>
            <a:p>
              <a:pPr algn="l"/>
              <a:r>
                <a:rPr lang="en-AU" sz="1000" b="1" dirty="0">
                  <a:solidFill>
                    <a:srgbClr val="094E5D"/>
                  </a:solidFill>
                </a:rPr>
                <a:t>FNMS App Server</a:t>
              </a:r>
            </a:p>
          </p:txBody>
        </p:sp>
        <p:grpSp>
          <p:nvGrpSpPr>
            <p:cNvPr id="20" name="Group 19">
              <a:extLst>
                <a:ext uri="{FF2B5EF4-FFF2-40B4-BE49-F238E27FC236}">
                  <a16:creationId xmlns:a16="http://schemas.microsoft.com/office/drawing/2014/main" id="{9DFC6F8D-B350-461F-A112-37A4490EAD5D}"/>
                </a:ext>
              </a:extLst>
            </p:cNvPr>
            <p:cNvGrpSpPr/>
            <p:nvPr/>
          </p:nvGrpSpPr>
          <p:grpSpPr>
            <a:xfrm>
              <a:off x="761305" y="1060990"/>
              <a:ext cx="1115217" cy="630556"/>
              <a:chOff x="1311533" y="490208"/>
              <a:chExt cx="1115217" cy="630556"/>
            </a:xfrm>
          </p:grpSpPr>
          <p:sp>
            <p:nvSpPr>
              <p:cNvPr id="83" name="Graphic 42" descr="Cloud">
                <a:extLst>
                  <a:ext uri="{FF2B5EF4-FFF2-40B4-BE49-F238E27FC236}">
                    <a16:creationId xmlns:a16="http://schemas.microsoft.com/office/drawing/2014/main" id="{6A13323C-8917-4934-A2B6-F5A69191AC0D}"/>
                  </a:ext>
                </a:extLst>
              </p:cNvPr>
              <p:cNvSpPr/>
              <p:nvPr/>
            </p:nvSpPr>
            <p:spPr>
              <a:xfrm>
                <a:off x="1311533" y="490208"/>
                <a:ext cx="1115217" cy="630556"/>
              </a:xfrm>
              <a:custGeom>
                <a:avLst/>
                <a:gdLst>
                  <a:gd name="connsiteX0" fmla="*/ 689427 w 800100"/>
                  <a:gd name="connsiteY0" fmla="*/ 227507 h 447675"/>
                  <a:gd name="connsiteX1" fmla="*/ 679902 w 800100"/>
                  <a:gd name="connsiteY1" fmla="*/ 227507 h 447675"/>
                  <a:gd name="connsiteX2" fmla="*/ 679902 w 800100"/>
                  <a:gd name="connsiteY2" fmla="*/ 227507 h 447675"/>
                  <a:gd name="connsiteX3" fmla="*/ 619895 w 800100"/>
                  <a:gd name="connsiteY3" fmla="*/ 111302 h 447675"/>
                  <a:gd name="connsiteX4" fmla="*/ 489403 w 800100"/>
                  <a:gd name="connsiteY4" fmla="*/ 93204 h 447675"/>
                  <a:gd name="connsiteX5" fmla="*/ 296998 w 800100"/>
                  <a:gd name="connsiteY5" fmla="*/ 4622 h 447675"/>
                  <a:gd name="connsiteX6" fmla="*/ 165552 w 800100"/>
                  <a:gd name="connsiteY6" fmla="*/ 170357 h 447675"/>
                  <a:gd name="connsiteX7" fmla="*/ 165552 w 800100"/>
                  <a:gd name="connsiteY7" fmla="*/ 172262 h 447675"/>
                  <a:gd name="connsiteX8" fmla="*/ 28392 w 800100"/>
                  <a:gd name="connsiteY8" fmla="*/ 227507 h 447675"/>
                  <a:gd name="connsiteX9" fmla="*/ 13152 w 800100"/>
                  <a:gd name="connsiteY9" fmla="*/ 374192 h 447675"/>
                  <a:gd name="connsiteX10" fmla="*/ 136025 w 800100"/>
                  <a:gd name="connsiteY10" fmla="*/ 456107 h 447675"/>
                  <a:gd name="connsiteX11" fmla="*/ 136025 w 800100"/>
                  <a:gd name="connsiteY11" fmla="*/ 457059 h 447675"/>
                  <a:gd name="connsiteX12" fmla="*/ 688475 w 800100"/>
                  <a:gd name="connsiteY12" fmla="*/ 457059 h 447675"/>
                  <a:gd name="connsiteX13" fmla="*/ 802775 w 800100"/>
                  <a:gd name="connsiteY13" fmla="*/ 342759 h 447675"/>
                  <a:gd name="connsiteX14" fmla="*/ 689427 w 800100"/>
                  <a:gd name="connsiteY14" fmla="*/ 227507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0100" h="447675">
                    <a:moveTo>
                      <a:pt x="689427" y="227507"/>
                    </a:moveTo>
                    <a:cubicBezTo>
                      <a:pt x="686570" y="227507"/>
                      <a:pt x="682760" y="227507"/>
                      <a:pt x="679902" y="227507"/>
                    </a:cubicBezTo>
                    <a:cubicBezTo>
                      <a:pt x="679902" y="227507"/>
                      <a:pt x="679902" y="227507"/>
                      <a:pt x="679902" y="227507"/>
                    </a:cubicBezTo>
                    <a:cubicBezTo>
                      <a:pt x="679902" y="180834"/>
                      <a:pt x="657043" y="137972"/>
                      <a:pt x="619895" y="111302"/>
                    </a:cubicBezTo>
                    <a:cubicBezTo>
                      <a:pt x="581795" y="84632"/>
                      <a:pt x="533218" y="77964"/>
                      <a:pt x="489403" y="93204"/>
                    </a:cubicBezTo>
                    <a:cubicBezTo>
                      <a:pt x="453208" y="22719"/>
                      <a:pt x="373198" y="-13476"/>
                      <a:pt x="296998" y="4622"/>
                    </a:cubicBezTo>
                    <a:cubicBezTo>
                      <a:pt x="220797" y="22719"/>
                      <a:pt x="165552" y="91299"/>
                      <a:pt x="165552" y="170357"/>
                    </a:cubicBezTo>
                    <a:cubicBezTo>
                      <a:pt x="165552" y="170357"/>
                      <a:pt x="165552" y="171309"/>
                      <a:pt x="165552" y="172262"/>
                    </a:cubicBezTo>
                    <a:cubicBezTo>
                      <a:pt x="113165" y="163689"/>
                      <a:pt x="60777" y="185597"/>
                      <a:pt x="28392" y="227507"/>
                    </a:cubicBezTo>
                    <a:cubicBezTo>
                      <a:pt x="-3040" y="270369"/>
                      <a:pt x="-8755" y="326567"/>
                      <a:pt x="13152" y="374192"/>
                    </a:cubicBezTo>
                    <a:cubicBezTo>
                      <a:pt x="36012" y="421817"/>
                      <a:pt x="83637" y="453249"/>
                      <a:pt x="136025" y="456107"/>
                    </a:cubicBezTo>
                    <a:lnTo>
                      <a:pt x="136025" y="457059"/>
                    </a:lnTo>
                    <a:lnTo>
                      <a:pt x="688475" y="457059"/>
                    </a:lnTo>
                    <a:cubicBezTo>
                      <a:pt x="751340" y="457059"/>
                      <a:pt x="802775" y="405624"/>
                      <a:pt x="802775" y="342759"/>
                    </a:cubicBezTo>
                    <a:cubicBezTo>
                      <a:pt x="802775" y="279894"/>
                      <a:pt x="752293" y="227507"/>
                      <a:pt x="689427" y="227507"/>
                    </a:cubicBezTo>
                    <a:close/>
                  </a:path>
                </a:pathLst>
              </a:custGeom>
              <a:solidFill>
                <a:srgbClr val="2699F4"/>
              </a:solidFill>
              <a:ln w="9525" cap="flat">
                <a:noFill/>
                <a:prstDash val="solid"/>
                <a:miter/>
              </a:ln>
            </p:spPr>
            <p:txBody>
              <a:bodyPr rtlCol="0" anchor="ctr"/>
              <a:lstStyle/>
              <a:p>
                <a:endParaRPr lang="en-AU" dirty="0"/>
              </a:p>
            </p:txBody>
          </p:sp>
          <p:sp>
            <p:nvSpPr>
              <p:cNvPr id="84" name="TextBox 83">
                <a:extLst>
                  <a:ext uri="{FF2B5EF4-FFF2-40B4-BE49-F238E27FC236}">
                    <a16:creationId xmlns:a16="http://schemas.microsoft.com/office/drawing/2014/main" id="{B1631163-E6E0-4819-9EBC-DD5BA1DBC54C}"/>
                  </a:ext>
                </a:extLst>
              </p:cNvPr>
              <p:cNvSpPr txBox="1"/>
              <p:nvPr/>
            </p:nvSpPr>
            <p:spPr>
              <a:xfrm>
                <a:off x="1560723" y="748048"/>
                <a:ext cx="616836" cy="276999"/>
              </a:xfrm>
              <a:prstGeom prst="rect">
                <a:avLst/>
              </a:prstGeom>
              <a:noFill/>
            </p:spPr>
            <p:txBody>
              <a:bodyPr wrap="none" rtlCol="0">
                <a:spAutoFit/>
              </a:bodyPr>
              <a:lstStyle/>
              <a:p>
                <a:pPr algn="l"/>
                <a:r>
                  <a:rPr lang="en-AU" sz="1200" b="1" dirty="0">
                    <a:solidFill>
                      <a:schemeClr val="bg1"/>
                    </a:solidFill>
                    <a:latin typeface="Arial Nova" panose="020B0504020202020204" pitchFamily="34" charset="0"/>
                    <a:ea typeface="Tahoma" panose="020B0604030504040204" pitchFamily="34" charset="0"/>
                    <a:cs typeface="Tahoma" panose="020B0604030504040204" pitchFamily="34" charset="0"/>
                  </a:rPr>
                  <a:t>Azure</a:t>
                </a:r>
                <a:endParaRPr lang="en-AU" sz="1100" b="1" baseline="50000" dirty="0">
                  <a:solidFill>
                    <a:schemeClr val="bg1"/>
                  </a:solidFill>
                  <a:latin typeface="Arial Nova" panose="020B0504020202020204" pitchFamily="34" charset="0"/>
                  <a:ea typeface="Tahoma" panose="020B0604030504040204" pitchFamily="34" charset="0"/>
                  <a:cs typeface="Tahoma" panose="020B0604030504040204" pitchFamily="34" charset="0"/>
                </a:endParaRPr>
              </a:p>
            </p:txBody>
          </p:sp>
        </p:grpSp>
        <p:grpSp>
          <p:nvGrpSpPr>
            <p:cNvPr id="21" name="Group 20">
              <a:extLst>
                <a:ext uri="{FF2B5EF4-FFF2-40B4-BE49-F238E27FC236}">
                  <a16:creationId xmlns:a16="http://schemas.microsoft.com/office/drawing/2014/main" id="{36A53F2C-7C29-4D7E-BEB0-2967E47F2747}"/>
                </a:ext>
              </a:extLst>
            </p:cNvPr>
            <p:cNvGrpSpPr/>
            <p:nvPr/>
          </p:nvGrpSpPr>
          <p:grpSpPr>
            <a:xfrm>
              <a:off x="1948172" y="849497"/>
              <a:ext cx="1115217" cy="630556"/>
              <a:chOff x="2015332" y="1214702"/>
              <a:chExt cx="1115217" cy="630556"/>
            </a:xfrm>
          </p:grpSpPr>
          <p:sp>
            <p:nvSpPr>
              <p:cNvPr id="80" name="Graphic 42" descr="Cloud">
                <a:extLst>
                  <a:ext uri="{FF2B5EF4-FFF2-40B4-BE49-F238E27FC236}">
                    <a16:creationId xmlns:a16="http://schemas.microsoft.com/office/drawing/2014/main" id="{B5A4BDAF-5014-4A1E-A539-CC2434207342}"/>
                  </a:ext>
                </a:extLst>
              </p:cNvPr>
              <p:cNvSpPr/>
              <p:nvPr/>
            </p:nvSpPr>
            <p:spPr>
              <a:xfrm>
                <a:off x="2015332" y="1214702"/>
                <a:ext cx="1115217" cy="630556"/>
              </a:xfrm>
              <a:custGeom>
                <a:avLst/>
                <a:gdLst>
                  <a:gd name="connsiteX0" fmla="*/ 689427 w 800100"/>
                  <a:gd name="connsiteY0" fmla="*/ 227507 h 447675"/>
                  <a:gd name="connsiteX1" fmla="*/ 679902 w 800100"/>
                  <a:gd name="connsiteY1" fmla="*/ 227507 h 447675"/>
                  <a:gd name="connsiteX2" fmla="*/ 679902 w 800100"/>
                  <a:gd name="connsiteY2" fmla="*/ 227507 h 447675"/>
                  <a:gd name="connsiteX3" fmla="*/ 619895 w 800100"/>
                  <a:gd name="connsiteY3" fmla="*/ 111302 h 447675"/>
                  <a:gd name="connsiteX4" fmla="*/ 489403 w 800100"/>
                  <a:gd name="connsiteY4" fmla="*/ 93204 h 447675"/>
                  <a:gd name="connsiteX5" fmla="*/ 296998 w 800100"/>
                  <a:gd name="connsiteY5" fmla="*/ 4622 h 447675"/>
                  <a:gd name="connsiteX6" fmla="*/ 165552 w 800100"/>
                  <a:gd name="connsiteY6" fmla="*/ 170357 h 447675"/>
                  <a:gd name="connsiteX7" fmla="*/ 165552 w 800100"/>
                  <a:gd name="connsiteY7" fmla="*/ 172262 h 447675"/>
                  <a:gd name="connsiteX8" fmla="*/ 28392 w 800100"/>
                  <a:gd name="connsiteY8" fmla="*/ 227507 h 447675"/>
                  <a:gd name="connsiteX9" fmla="*/ 13152 w 800100"/>
                  <a:gd name="connsiteY9" fmla="*/ 374192 h 447675"/>
                  <a:gd name="connsiteX10" fmla="*/ 136025 w 800100"/>
                  <a:gd name="connsiteY10" fmla="*/ 456107 h 447675"/>
                  <a:gd name="connsiteX11" fmla="*/ 136025 w 800100"/>
                  <a:gd name="connsiteY11" fmla="*/ 457059 h 447675"/>
                  <a:gd name="connsiteX12" fmla="*/ 688475 w 800100"/>
                  <a:gd name="connsiteY12" fmla="*/ 457059 h 447675"/>
                  <a:gd name="connsiteX13" fmla="*/ 802775 w 800100"/>
                  <a:gd name="connsiteY13" fmla="*/ 342759 h 447675"/>
                  <a:gd name="connsiteX14" fmla="*/ 689427 w 800100"/>
                  <a:gd name="connsiteY14" fmla="*/ 227507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0100" h="447675">
                    <a:moveTo>
                      <a:pt x="689427" y="227507"/>
                    </a:moveTo>
                    <a:cubicBezTo>
                      <a:pt x="686570" y="227507"/>
                      <a:pt x="682760" y="227507"/>
                      <a:pt x="679902" y="227507"/>
                    </a:cubicBezTo>
                    <a:cubicBezTo>
                      <a:pt x="679902" y="227507"/>
                      <a:pt x="679902" y="227507"/>
                      <a:pt x="679902" y="227507"/>
                    </a:cubicBezTo>
                    <a:cubicBezTo>
                      <a:pt x="679902" y="180834"/>
                      <a:pt x="657043" y="137972"/>
                      <a:pt x="619895" y="111302"/>
                    </a:cubicBezTo>
                    <a:cubicBezTo>
                      <a:pt x="581795" y="84632"/>
                      <a:pt x="533218" y="77964"/>
                      <a:pt x="489403" y="93204"/>
                    </a:cubicBezTo>
                    <a:cubicBezTo>
                      <a:pt x="453208" y="22719"/>
                      <a:pt x="373198" y="-13476"/>
                      <a:pt x="296998" y="4622"/>
                    </a:cubicBezTo>
                    <a:cubicBezTo>
                      <a:pt x="220797" y="22719"/>
                      <a:pt x="165552" y="91299"/>
                      <a:pt x="165552" y="170357"/>
                    </a:cubicBezTo>
                    <a:cubicBezTo>
                      <a:pt x="165552" y="170357"/>
                      <a:pt x="165552" y="171309"/>
                      <a:pt x="165552" y="172262"/>
                    </a:cubicBezTo>
                    <a:cubicBezTo>
                      <a:pt x="113165" y="163689"/>
                      <a:pt x="60777" y="185597"/>
                      <a:pt x="28392" y="227507"/>
                    </a:cubicBezTo>
                    <a:cubicBezTo>
                      <a:pt x="-3040" y="270369"/>
                      <a:pt x="-8755" y="326567"/>
                      <a:pt x="13152" y="374192"/>
                    </a:cubicBezTo>
                    <a:cubicBezTo>
                      <a:pt x="36012" y="421817"/>
                      <a:pt x="83637" y="453249"/>
                      <a:pt x="136025" y="456107"/>
                    </a:cubicBezTo>
                    <a:lnTo>
                      <a:pt x="136025" y="457059"/>
                    </a:lnTo>
                    <a:lnTo>
                      <a:pt x="688475" y="457059"/>
                    </a:lnTo>
                    <a:cubicBezTo>
                      <a:pt x="751340" y="457059"/>
                      <a:pt x="802775" y="405624"/>
                      <a:pt x="802775" y="342759"/>
                    </a:cubicBezTo>
                    <a:cubicBezTo>
                      <a:pt x="802775" y="279894"/>
                      <a:pt x="752293" y="227507"/>
                      <a:pt x="689427" y="227507"/>
                    </a:cubicBezTo>
                    <a:close/>
                  </a:path>
                </a:pathLst>
              </a:custGeom>
              <a:solidFill>
                <a:srgbClr val="2699F4"/>
              </a:solidFill>
              <a:ln w="9525" cap="flat">
                <a:noFill/>
                <a:prstDash val="solid"/>
                <a:miter/>
              </a:ln>
            </p:spPr>
            <p:txBody>
              <a:bodyPr rtlCol="0" anchor="ctr"/>
              <a:lstStyle/>
              <a:p>
                <a:endParaRPr lang="en-AU" dirty="0"/>
              </a:p>
            </p:txBody>
          </p:sp>
          <p:sp>
            <p:nvSpPr>
              <p:cNvPr id="81" name="TextBox 80">
                <a:extLst>
                  <a:ext uri="{FF2B5EF4-FFF2-40B4-BE49-F238E27FC236}">
                    <a16:creationId xmlns:a16="http://schemas.microsoft.com/office/drawing/2014/main" id="{84ED4D50-C5DE-478F-961D-E11B87467523}"/>
                  </a:ext>
                </a:extLst>
              </p:cNvPr>
              <p:cNvSpPr txBox="1"/>
              <p:nvPr/>
            </p:nvSpPr>
            <p:spPr>
              <a:xfrm>
                <a:off x="2226797" y="1326447"/>
                <a:ext cx="776046" cy="276999"/>
              </a:xfrm>
              <a:prstGeom prst="rect">
                <a:avLst/>
              </a:prstGeom>
              <a:noFill/>
            </p:spPr>
            <p:txBody>
              <a:bodyPr wrap="none" rtlCol="0">
                <a:spAutoFit/>
              </a:bodyPr>
              <a:lstStyle/>
              <a:p>
                <a:pPr algn="l"/>
                <a:r>
                  <a:rPr lang="en-AU" sz="1200" b="1" dirty="0">
                    <a:solidFill>
                      <a:schemeClr val="bg1"/>
                    </a:solidFill>
                    <a:latin typeface="Arial Nova" panose="020B0504020202020204" pitchFamily="34" charset="0"/>
                    <a:ea typeface="Tahoma" panose="020B0604030504040204" pitchFamily="34" charset="0"/>
                    <a:cs typeface="Tahoma" panose="020B0604030504040204" pitchFamily="34" charset="0"/>
                  </a:rPr>
                  <a:t>VMware</a:t>
                </a:r>
                <a:endParaRPr lang="en-AU" sz="1100" b="1" baseline="50000" dirty="0">
                  <a:solidFill>
                    <a:schemeClr val="bg1"/>
                  </a:solidFill>
                  <a:latin typeface="Arial Nova" panose="020B0504020202020204" pitchFamily="34" charset="0"/>
                  <a:ea typeface="Tahoma" panose="020B0604030504040204" pitchFamily="34" charset="0"/>
                  <a:cs typeface="Tahoma" panose="020B0604030504040204" pitchFamily="34" charset="0"/>
                </a:endParaRPr>
              </a:p>
            </p:txBody>
          </p:sp>
          <p:sp>
            <p:nvSpPr>
              <p:cNvPr id="82" name="TextBox 81">
                <a:extLst>
                  <a:ext uri="{FF2B5EF4-FFF2-40B4-BE49-F238E27FC236}">
                    <a16:creationId xmlns:a16="http://schemas.microsoft.com/office/drawing/2014/main" id="{37588BBA-8989-4B2A-9E2B-475DEE8E33E0}"/>
                  </a:ext>
                </a:extLst>
              </p:cNvPr>
              <p:cNvSpPr txBox="1"/>
              <p:nvPr/>
            </p:nvSpPr>
            <p:spPr>
              <a:xfrm>
                <a:off x="2254717" y="1499461"/>
                <a:ext cx="184731" cy="230832"/>
              </a:xfrm>
              <a:prstGeom prst="rect">
                <a:avLst/>
              </a:prstGeom>
              <a:noFill/>
            </p:spPr>
            <p:txBody>
              <a:bodyPr wrap="none" rtlCol="0">
                <a:spAutoFit/>
              </a:bodyPr>
              <a:lstStyle/>
              <a:p>
                <a:pPr algn="l"/>
                <a:endParaRPr lang="en-AU" sz="900" b="1" dirty="0"/>
              </a:p>
            </p:txBody>
          </p:sp>
        </p:grpSp>
        <p:sp>
          <p:nvSpPr>
            <p:cNvPr id="22" name="Graphic 42" descr="Cloud">
              <a:extLst>
                <a:ext uri="{FF2B5EF4-FFF2-40B4-BE49-F238E27FC236}">
                  <a16:creationId xmlns:a16="http://schemas.microsoft.com/office/drawing/2014/main" id="{D2821F41-9113-4D5C-B6FB-16DFD94A2796}"/>
                </a:ext>
              </a:extLst>
            </p:cNvPr>
            <p:cNvSpPr/>
            <p:nvPr/>
          </p:nvSpPr>
          <p:spPr>
            <a:xfrm>
              <a:off x="1301768" y="1804603"/>
              <a:ext cx="1115217" cy="630556"/>
            </a:xfrm>
            <a:custGeom>
              <a:avLst/>
              <a:gdLst>
                <a:gd name="connsiteX0" fmla="*/ 689427 w 800100"/>
                <a:gd name="connsiteY0" fmla="*/ 227507 h 447675"/>
                <a:gd name="connsiteX1" fmla="*/ 679902 w 800100"/>
                <a:gd name="connsiteY1" fmla="*/ 227507 h 447675"/>
                <a:gd name="connsiteX2" fmla="*/ 679902 w 800100"/>
                <a:gd name="connsiteY2" fmla="*/ 227507 h 447675"/>
                <a:gd name="connsiteX3" fmla="*/ 619895 w 800100"/>
                <a:gd name="connsiteY3" fmla="*/ 111302 h 447675"/>
                <a:gd name="connsiteX4" fmla="*/ 489403 w 800100"/>
                <a:gd name="connsiteY4" fmla="*/ 93204 h 447675"/>
                <a:gd name="connsiteX5" fmla="*/ 296998 w 800100"/>
                <a:gd name="connsiteY5" fmla="*/ 4622 h 447675"/>
                <a:gd name="connsiteX6" fmla="*/ 165552 w 800100"/>
                <a:gd name="connsiteY6" fmla="*/ 170357 h 447675"/>
                <a:gd name="connsiteX7" fmla="*/ 165552 w 800100"/>
                <a:gd name="connsiteY7" fmla="*/ 172262 h 447675"/>
                <a:gd name="connsiteX8" fmla="*/ 28392 w 800100"/>
                <a:gd name="connsiteY8" fmla="*/ 227507 h 447675"/>
                <a:gd name="connsiteX9" fmla="*/ 13152 w 800100"/>
                <a:gd name="connsiteY9" fmla="*/ 374192 h 447675"/>
                <a:gd name="connsiteX10" fmla="*/ 136025 w 800100"/>
                <a:gd name="connsiteY10" fmla="*/ 456107 h 447675"/>
                <a:gd name="connsiteX11" fmla="*/ 136025 w 800100"/>
                <a:gd name="connsiteY11" fmla="*/ 457059 h 447675"/>
                <a:gd name="connsiteX12" fmla="*/ 688475 w 800100"/>
                <a:gd name="connsiteY12" fmla="*/ 457059 h 447675"/>
                <a:gd name="connsiteX13" fmla="*/ 802775 w 800100"/>
                <a:gd name="connsiteY13" fmla="*/ 342759 h 447675"/>
                <a:gd name="connsiteX14" fmla="*/ 689427 w 800100"/>
                <a:gd name="connsiteY14" fmla="*/ 227507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0100" h="447675">
                  <a:moveTo>
                    <a:pt x="689427" y="227507"/>
                  </a:moveTo>
                  <a:cubicBezTo>
                    <a:pt x="686570" y="227507"/>
                    <a:pt x="682760" y="227507"/>
                    <a:pt x="679902" y="227507"/>
                  </a:cubicBezTo>
                  <a:cubicBezTo>
                    <a:pt x="679902" y="227507"/>
                    <a:pt x="679902" y="227507"/>
                    <a:pt x="679902" y="227507"/>
                  </a:cubicBezTo>
                  <a:cubicBezTo>
                    <a:pt x="679902" y="180834"/>
                    <a:pt x="657043" y="137972"/>
                    <a:pt x="619895" y="111302"/>
                  </a:cubicBezTo>
                  <a:cubicBezTo>
                    <a:pt x="581795" y="84632"/>
                    <a:pt x="533218" y="77964"/>
                    <a:pt x="489403" y="93204"/>
                  </a:cubicBezTo>
                  <a:cubicBezTo>
                    <a:pt x="453208" y="22719"/>
                    <a:pt x="373198" y="-13476"/>
                    <a:pt x="296998" y="4622"/>
                  </a:cubicBezTo>
                  <a:cubicBezTo>
                    <a:pt x="220797" y="22719"/>
                    <a:pt x="165552" y="91299"/>
                    <a:pt x="165552" y="170357"/>
                  </a:cubicBezTo>
                  <a:cubicBezTo>
                    <a:pt x="165552" y="170357"/>
                    <a:pt x="165552" y="171309"/>
                    <a:pt x="165552" y="172262"/>
                  </a:cubicBezTo>
                  <a:cubicBezTo>
                    <a:pt x="113165" y="163689"/>
                    <a:pt x="60777" y="185597"/>
                    <a:pt x="28392" y="227507"/>
                  </a:cubicBezTo>
                  <a:cubicBezTo>
                    <a:pt x="-3040" y="270369"/>
                    <a:pt x="-8755" y="326567"/>
                    <a:pt x="13152" y="374192"/>
                  </a:cubicBezTo>
                  <a:cubicBezTo>
                    <a:pt x="36012" y="421817"/>
                    <a:pt x="83637" y="453249"/>
                    <a:pt x="136025" y="456107"/>
                  </a:cubicBezTo>
                  <a:lnTo>
                    <a:pt x="136025" y="457059"/>
                  </a:lnTo>
                  <a:lnTo>
                    <a:pt x="688475" y="457059"/>
                  </a:lnTo>
                  <a:cubicBezTo>
                    <a:pt x="751340" y="457059"/>
                    <a:pt x="802775" y="405624"/>
                    <a:pt x="802775" y="342759"/>
                  </a:cubicBezTo>
                  <a:cubicBezTo>
                    <a:pt x="802775" y="279894"/>
                    <a:pt x="752293" y="227507"/>
                    <a:pt x="689427" y="227507"/>
                  </a:cubicBezTo>
                  <a:close/>
                </a:path>
              </a:pathLst>
            </a:custGeom>
            <a:pattFill prst="pct50">
              <a:fgClr>
                <a:schemeClr val="tx1"/>
              </a:fgClr>
              <a:bgClr>
                <a:schemeClr val="bg1"/>
              </a:bgClr>
            </a:pattFill>
            <a:ln w="25400" cap="flat">
              <a:solidFill>
                <a:srgbClr val="2699F4"/>
              </a:solidFill>
              <a:prstDash val="solid"/>
              <a:miter/>
            </a:ln>
          </p:spPr>
          <p:txBody>
            <a:bodyPr rtlCol="0" anchor="ctr"/>
            <a:lstStyle/>
            <a:p>
              <a:endParaRPr lang="en-AU" dirty="0"/>
            </a:p>
          </p:txBody>
        </p:sp>
        <p:sp>
          <p:nvSpPr>
            <p:cNvPr id="23" name="TextBox 22">
              <a:extLst>
                <a:ext uri="{FF2B5EF4-FFF2-40B4-BE49-F238E27FC236}">
                  <a16:creationId xmlns:a16="http://schemas.microsoft.com/office/drawing/2014/main" id="{A2DCBF2F-8729-44EC-BB3E-15201CCEEEE8}"/>
                </a:ext>
              </a:extLst>
            </p:cNvPr>
            <p:cNvSpPr txBox="1"/>
            <p:nvPr/>
          </p:nvSpPr>
          <p:spPr>
            <a:xfrm>
              <a:off x="1546520" y="1871300"/>
              <a:ext cx="529312" cy="276999"/>
            </a:xfrm>
            <a:prstGeom prst="rect">
              <a:avLst/>
            </a:prstGeom>
            <a:noFill/>
          </p:spPr>
          <p:txBody>
            <a:bodyPr wrap="none" rtlCol="0">
              <a:spAutoFit/>
            </a:bodyPr>
            <a:lstStyle/>
            <a:p>
              <a:pPr algn="l"/>
              <a:r>
                <a:rPr lang="en-AU" sz="1200" b="1" dirty="0">
                  <a:solidFill>
                    <a:schemeClr val="bg1"/>
                  </a:solidFill>
                  <a:latin typeface="Arial Nova" panose="020B0504020202020204" pitchFamily="34" charset="0"/>
                  <a:ea typeface="Tahoma" panose="020B0604030504040204" pitchFamily="34" charset="0"/>
                  <a:cs typeface="Tahoma" panose="020B0604030504040204" pitchFamily="34" charset="0"/>
                </a:rPr>
                <a:t>AWS</a:t>
              </a:r>
              <a:endParaRPr lang="en-AU" sz="1100" b="1" baseline="50000" dirty="0">
                <a:solidFill>
                  <a:schemeClr val="bg1"/>
                </a:solidFill>
                <a:latin typeface="Arial Nova" panose="020B0504020202020204" pitchFamily="34" charset="0"/>
                <a:ea typeface="Tahoma" panose="020B0604030504040204" pitchFamily="34" charset="0"/>
                <a:cs typeface="Tahoma" panose="020B0604030504040204" pitchFamily="34" charset="0"/>
              </a:endParaRPr>
            </a:p>
          </p:txBody>
        </p:sp>
        <p:pic>
          <p:nvPicPr>
            <p:cNvPr id="24" name="Picture 6" descr="See the source image">
              <a:extLst>
                <a:ext uri="{FF2B5EF4-FFF2-40B4-BE49-F238E27FC236}">
                  <a16:creationId xmlns:a16="http://schemas.microsoft.com/office/drawing/2014/main" id="{191AB47F-EC80-4E06-948F-1F3EEF4C534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78948" y="2082356"/>
              <a:ext cx="1219200" cy="121920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See the source image">
              <a:extLst>
                <a:ext uri="{FF2B5EF4-FFF2-40B4-BE49-F238E27FC236}">
                  <a16:creationId xmlns:a16="http://schemas.microsoft.com/office/drawing/2014/main" id="{8CBECCF0-CAC3-4D8B-9851-3F0453E2932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62246" y="3080317"/>
              <a:ext cx="1080818" cy="1080818"/>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C977F76F-924E-46F2-AB91-3652B02F0ADF}"/>
                </a:ext>
              </a:extLst>
            </p:cNvPr>
            <p:cNvSpPr txBox="1"/>
            <p:nvPr/>
          </p:nvSpPr>
          <p:spPr>
            <a:xfrm>
              <a:off x="5224350" y="4174106"/>
              <a:ext cx="1031051" cy="230832"/>
            </a:xfrm>
            <a:prstGeom prst="rect">
              <a:avLst/>
            </a:prstGeom>
            <a:noFill/>
          </p:spPr>
          <p:txBody>
            <a:bodyPr wrap="none" rtlCol="0">
              <a:spAutoFit/>
            </a:bodyPr>
            <a:lstStyle/>
            <a:p>
              <a:pPr algn="l"/>
              <a:r>
                <a:rPr lang="en-AU" sz="900" b="1" dirty="0">
                  <a:solidFill>
                    <a:srgbClr val="094E5D"/>
                  </a:solidFill>
                </a:rPr>
                <a:t>FNMS DB Server</a:t>
              </a:r>
            </a:p>
          </p:txBody>
        </p:sp>
        <p:pic>
          <p:nvPicPr>
            <p:cNvPr id="27" name="Picture 6" descr="See the source image">
              <a:extLst>
                <a:ext uri="{FF2B5EF4-FFF2-40B4-BE49-F238E27FC236}">
                  <a16:creationId xmlns:a16="http://schemas.microsoft.com/office/drawing/2014/main" id="{7820DF67-EE6E-44A9-ACFF-B1EA357B943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00087" y="2145100"/>
              <a:ext cx="853024" cy="853024"/>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Arrow Connector 27">
              <a:extLst>
                <a:ext uri="{FF2B5EF4-FFF2-40B4-BE49-F238E27FC236}">
                  <a16:creationId xmlns:a16="http://schemas.microsoft.com/office/drawing/2014/main" id="{D6F66FD9-EAAB-4E45-AB55-1CC225F8547D}"/>
                </a:ext>
              </a:extLst>
            </p:cNvPr>
            <p:cNvCxnSpPr>
              <a:cxnSpLocks/>
            </p:cNvCxnSpPr>
            <p:nvPr/>
          </p:nvCxnSpPr>
          <p:spPr>
            <a:xfrm>
              <a:off x="5096556" y="2926376"/>
              <a:ext cx="492724" cy="499741"/>
            </a:xfrm>
            <a:prstGeom prst="straightConnector1">
              <a:avLst/>
            </a:prstGeom>
            <a:ln w="12700">
              <a:headEnd type="triangle" w="med" len="lg"/>
              <a:tailEnd type="triangle" w="med" len="lg"/>
            </a:ln>
          </p:spPr>
          <p:style>
            <a:lnRef idx="1">
              <a:schemeClr val="dk1"/>
            </a:lnRef>
            <a:fillRef idx="0">
              <a:schemeClr val="dk1"/>
            </a:fillRef>
            <a:effectRef idx="0">
              <a:schemeClr val="dk1"/>
            </a:effectRef>
            <a:fontRef idx="minor">
              <a:schemeClr val="tx1"/>
            </a:fontRef>
          </p:style>
        </p:cxnSp>
        <p:cxnSp>
          <p:nvCxnSpPr>
            <p:cNvPr id="29" name="Straight Arrow Connector 28">
              <a:extLst>
                <a:ext uri="{FF2B5EF4-FFF2-40B4-BE49-F238E27FC236}">
                  <a16:creationId xmlns:a16="http://schemas.microsoft.com/office/drawing/2014/main" id="{9AC4F10A-0A76-4DBA-BBE8-AD62873F406F}"/>
                </a:ext>
              </a:extLst>
            </p:cNvPr>
            <p:cNvCxnSpPr>
              <a:cxnSpLocks/>
              <a:stCxn id="22" idx="13"/>
              <a:endCxn id="27" idx="1"/>
            </p:cNvCxnSpPr>
            <p:nvPr/>
          </p:nvCxnSpPr>
          <p:spPr>
            <a:xfrm>
              <a:off x="2420714" y="2287383"/>
              <a:ext cx="979373" cy="284229"/>
            </a:xfrm>
            <a:prstGeom prst="straightConnector1">
              <a:avLst/>
            </a:prstGeom>
            <a:ln w="22225"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 name="Straight Arrow Connector 29">
              <a:extLst>
                <a:ext uri="{FF2B5EF4-FFF2-40B4-BE49-F238E27FC236}">
                  <a16:creationId xmlns:a16="http://schemas.microsoft.com/office/drawing/2014/main" id="{3719E1DC-CC61-471E-99DC-E02DA1207187}"/>
                </a:ext>
              </a:extLst>
            </p:cNvPr>
            <p:cNvCxnSpPr>
              <a:cxnSpLocks/>
            </p:cNvCxnSpPr>
            <p:nvPr/>
          </p:nvCxnSpPr>
          <p:spPr>
            <a:xfrm>
              <a:off x="2669241" y="1533624"/>
              <a:ext cx="1033373" cy="696092"/>
            </a:xfrm>
            <a:prstGeom prst="straightConnector1">
              <a:avLst/>
            </a:prstGeom>
            <a:ln w="12700">
              <a:solidFill>
                <a:schemeClr val="tx1"/>
              </a:solidFill>
              <a:headEnd type="triangle" w="med" len="lg"/>
              <a:tailEnd type="triangle" w="med" len="lg"/>
            </a:ln>
          </p:spPr>
          <p:style>
            <a:lnRef idx="1">
              <a:schemeClr val="dk1"/>
            </a:lnRef>
            <a:fillRef idx="0">
              <a:schemeClr val="dk1"/>
            </a:fillRef>
            <a:effectRef idx="0">
              <a:schemeClr val="dk1"/>
            </a:effectRef>
            <a:fontRef idx="minor">
              <a:schemeClr val="tx1"/>
            </a:fontRef>
          </p:style>
        </p:cxnSp>
        <p:cxnSp>
          <p:nvCxnSpPr>
            <p:cNvPr id="31" name="Straight Arrow Connector 30">
              <a:extLst>
                <a:ext uri="{FF2B5EF4-FFF2-40B4-BE49-F238E27FC236}">
                  <a16:creationId xmlns:a16="http://schemas.microsoft.com/office/drawing/2014/main" id="{F722681C-DBDA-435C-92FE-3495AC03ADCE}"/>
                </a:ext>
              </a:extLst>
            </p:cNvPr>
            <p:cNvCxnSpPr>
              <a:cxnSpLocks/>
            </p:cNvCxnSpPr>
            <p:nvPr/>
          </p:nvCxnSpPr>
          <p:spPr>
            <a:xfrm>
              <a:off x="3996157" y="2638864"/>
              <a:ext cx="573822" cy="53092"/>
            </a:xfrm>
            <a:prstGeom prst="straightConnector1">
              <a:avLst/>
            </a:prstGeom>
            <a:ln w="12700">
              <a:headEnd type="triangle" w="med" len="lg"/>
              <a:tailEnd type="triangle" w="med" len="lg"/>
            </a:ln>
          </p:spPr>
          <p:style>
            <a:lnRef idx="1">
              <a:schemeClr val="dk1"/>
            </a:lnRef>
            <a:fillRef idx="0">
              <a:schemeClr val="dk1"/>
            </a:fillRef>
            <a:effectRef idx="0">
              <a:schemeClr val="dk1"/>
            </a:effectRef>
            <a:fontRef idx="minor">
              <a:schemeClr val="tx1"/>
            </a:fontRef>
          </p:style>
        </p:cxnSp>
        <p:sp>
          <p:nvSpPr>
            <p:cNvPr id="32" name="Oval 31">
              <a:extLst>
                <a:ext uri="{FF2B5EF4-FFF2-40B4-BE49-F238E27FC236}">
                  <a16:creationId xmlns:a16="http://schemas.microsoft.com/office/drawing/2014/main" id="{3CCBFAE5-493B-4FBD-A1CC-98F23841B34E}"/>
                </a:ext>
              </a:extLst>
            </p:cNvPr>
            <p:cNvSpPr/>
            <p:nvPr/>
          </p:nvSpPr>
          <p:spPr>
            <a:xfrm rot="154908">
              <a:off x="3212775" y="1947467"/>
              <a:ext cx="2673438" cy="1385986"/>
            </a:xfrm>
            <a:prstGeom prst="ellipse">
              <a:avLst/>
            </a:prstGeom>
            <a:noFill/>
            <a:ln w="22225">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3" name="TextBox 32">
              <a:extLst>
                <a:ext uri="{FF2B5EF4-FFF2-40B4-BE49-F238E27FC236}">
                  <a16:creationId xmlns:a16="http://schemas.microsoft.com/office/drawing/2014/main" id="{22B441A5-515E-4C31-A3D9-0C0FBCD055D9}"/>
                </a:ext>
              </a:extLst>
            </p:cNvPr>
            <p:cNvSpPr txBox="1"/>
            <p:nvPr/>
          </p:nvSpPr>
          <p:spPr>
            <a:xfrm>
              <a:off x="5052291" y="4302230"/>
              <a:ext cx="1327608" cy="215444"/>
            </a:xfrm>
            <a:prstGeom prst="rect">
              <a:avLst/>
            </a:prstGeom>
            <a:noFill/>
          </p:spPr>
          <p:txBody>
            <a:bodyPr wrap="none" rtlCol="0">
              <a:spAutoFit/>
            </a:bodyPr>
            <a:lstStyle/>
            <a:p>
              <a:r>
                <a:rPr lang="en-GB" sz="800" b="1" dirty="0"/>
                <a:t>svr0000002pr.acme.com</a:t>
              </a:r>
              <a:endParaRPr lang="en-AU" sz="800" b="1" dirty="0"/>
            </a:p>
          </p:txBody>
        </p:sp>
        <p:sp>
          <p:nvSpPr>
            <p:cNvPr id="34" name="Graphic 42" descr="Cloud">
              <a:extLst>
                <a:ext uri="{FF2B5EF4-FFF2-40B4-BE49-F238E27FC236}">
                  <a16:creationId xmlns:a16="http://schemas.microsoft.com/office/drawing/2014/main" id="{E0DD2A03-9041-41C6-9784-1AFED5A43CDA}"/>
                </a:ext>
              </a:extLst>
            </p:cNvPr>
            <p:cNvSpPr/>
            <p:nvPr/>
          </p:nvSpPr>
          <p:spPr>
            <a:xfrm>
              <a:off x="330829" y="2189378"/>
              <a:ext cx="1115217" cy="630556"/>
            </a:xfrm>
            <a:custGeom>
              <a:avLst/>
              <a:gdLst>
                <a:gd name="connsiteX0" fmla="*/ 689427 w 800100"/>
                <a:gd name="connsiteY0" fmla="*/ 227507 h 447675"/>
                <a:gd name="connsiteX1" fmla="*/ 679902 w 800100"/>
                <a:gd name="connsiteY1" fmla="*/ 227507 h 447675"/>
                <a:gd name="connsiteX2" fmla="*/ 679902 w 800100"/>
                <a:gd name="connsiteY2" fmla="*/ 227507 h 447675"/>
                <a:gd name="connsiteX3" fmla="*/ 619895 w 800100"/>
                <a:gd name="connsiteY3" fmla="*/ 111302 h 447675"/>
                <a:gd name="connsiteX4" fmla="*/ 489403 w 800100"/>
                <a:gd name="connsiteY4" fmla="*/ 93204 h 447675"/>
                <a:gd name="connsiteX5" fmla="*/ 296998 w 800100"/>
                <a:gd name="connsiteY5" fmla="*/ 4622 h 447675"/>
                <a:gd name="connsiteX6" fmla="*/ 165552 w 800100"/>
                <a:gd name="connsiteY6" fmla="*/ 170357 h 447675"/>
                <a:gd name="connsiteX7" fmla="*/ 165552 w 800100"/>
                <a:gd name="connsiteY7" fmla="*/ 172262 h 447675"/>
                <a:gd name="connsiteX8" fmla="*/ 28392 w 800100"/>
                <a:gd name="connsiteY8" fmla="*/ 227507 h 447675"/>
                <a:gd name="connsiteX9" fmla="*/ 13152 w 800100"/>
                <a:gd name="connsiteY9" fmla="*/ 374192 h 447675"/>
                <a:gd name="connsiteX10" fmla="*/ 136025 w 800100"/>
                <a:gd name="connsiteY10" fmla="*/ 456107 h 447675"/>
                <a:gd name="connsiteX11" fmla="*/ 136025 w 800100"/>
                <a:gd name="connsiteY11" fmla="*/ 457059 h 447675"/>
                <a:gd name="connsiteX12" fmla="*/ 688475 w 800100"/>
                <a:gd name="connsiteY12" fmla="*/ 457059 h 447675"/>
                <a:gd name="connsiteX13" fmla="*/ 802775 w 800100"/>
                <a:gd name="connsiteY13" fmla="*/ 342759 h 447675"/>
                <a:gd name="connsiteX14" fmla="*/ 689427 w 800100"/>
                <a:gd name="connsiteY14" fmla="*/ 227507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0100" h="447675">
                  <a:moveTo>
                    <a:pt x="689427" y="227507"/>
                  </a:moveTo>
                  <a:cubicBezTo>
                    <a:pt x="686570" y="227507"/>
                    <a:pt x="682760" y="227507"/>
                    <a:pt x="679902" y="227507"/>
                  </a:cubicBezTo>
                  <a:cubicBezTo>
                    <a:pt x="679902" y="227507"/>
                    <a:pt x="679902" y="227507"/>
                    <a:pt x="679902" y="227507"/>
                  </a:cubicBezTo>
                  <a:cubicBezTo>
                    <a:pt x="679902" y="180834"/>
                    <a:pt x="657043" y="137972"/>
                    <a:pt x="619895" y="111302"/>
                  </a:cubicBezTo>
                  <a:cubicBezTo>
                    <a:pt x="581795" y="84632"/>
                    <a:pt x="533218" y="77964"/>
                    <a:pt x="489403" y="93204"/>
                  </a:cubicBezTo>
                  <a:cubicBezTo>
                    <a:pt x="453208" y="22719"/>
                    <a:pt x="373198" y="-13476"/>
                    <a:pt x="296998" y="4622"/>
                  </a:cubicBezTo>
                  <a:cubicBezTo>
                    <a:pt x="220797" y="22719"/>
                    <a:pt x="165552" y="91299"/>
                    <a:pt x="165552" y="170357"/>
                  </a:cubicBezTo>
                  <a:cubicBezTo>
                    <a:pt x="165552" y="170357"/>
                    <a:pt x="165552" y="171309"/>
                    <a:pt x="165552" y="172262"/>
                  </a:cubicBezTo>
                  <a:cubicBezTo>
                    <a:pt x="113165" y="163689"/>
                    <a:pt x="60777" y="185597"/>
                    <a:pt x="28392" y="227507"/>
                  </a:cubicBezTo>
                  <a:cubicBezTo>
                    <a:pt x="-3040" y="270369"/>
                    <a:pt x="-8755" y="326567"/>
                    <a:pt x="13152" y="374192"/>
                  </a:cubicBezTo>
                  <a:cubicBezTo>
                    <a:pt x="36012" y="421817"/>
                    <a:pt x="83637" y="453249"/>
                    <a:pt x="136025" y="456107"/>
                  </a:cubicBezTo>
                  <a:lnTo>
                    <a:pt x="136025" y="457059"/>
                  </a:lnTo>
                  <a:lnTo>
                    <a:pt x="688475" y="457059"/>
                  </a:lnTo>
                  <a:cubicBezTo>
                    <a:pt x="751340" y="457059"/>
                    <a:pt x="802775" y="405624"/>
                    <a:pt x="802775" y="342759"/>
                  </a:cubicBezTo>
                  <a:cubicBezTo>
                    <a:pt x="802775" y="279894"/>
                    <a:pt x="752293" y="227507"/>
                    <a:pt x="689427" y="227507"/>
                  </a:cubicBezTo>
                  <a:close/>
                </a:path>
              </a:pathLst>
            </a:custGeom>
            <a:pattFill prst="pct50">
              <a:fgClr>
                <a:schemeClr val="tx1"/>
              </a:fgClr>
              <a:bgClr>
                <a:schemeClr val="bg1"/>
              </a:bgClr>
            </a:pattFill>
            <a:ln w="9525" cap="flat">
              <a:solidFill>
                <a:schemeClr val="bg1">
                  <a:lumMod val="65000"/>
                </a:schemeClr>
              </a:solidFill>
              <a:prstDash val="solid"/>
              <a:miter/>
            </a:ln>
          </p:spPr>
          <p:txBody>
            <a:bodyPr rtlCol="0" anchor="ctr"/>
            <a:lstStyle/>
            <a:p>
              <a:endParaRPr lang="en-AU" dirty="0"/>
            </a:p>
          </p:txBody>
        </p:sp>
        <p:sp>
          <p:nvSpPr>
            <p:cNvPr id="35" name="TextBox 34">
              <a:extLst>
                <a:ext uri="{FF2B5EF4-FFF2-40B4-BE49-F238E27FC236}">
                  <a16:creationId xmlns:a16="http://schemas.microsoft.com/office/drawing/2014/main" id="{1C6A17B6-3B55-44AC-A069-55F992C4D865}"/>
                </a:ext>
              </a:extLst>
            </p:cNvPr>
            <p:cNvSpPr txBox="1"/>
            <p:nvPr/>
          </p:nvSpPr>
          <p:spPr>
            <a:xfrm>
              <a:off x="466202" y="2520218"/>
              <a:ext cx="1063112" cy="369332"/>
            </a:xfrm>
            <a:prstGeom prst="rect">
              <a:avLst/>
            </a:prstGeom>
            <a:noFill/>
          </p:spPr>
          <p:txBody>
            <a:bodyPr wrap="none" rtlCol="0">
              <a:spAutoFit/>
            </a:bodyPr>
            <a:lstStyle/>
            <a:p>
              <a:pPr algn="l"/>
              <a:r>
                <a:rPr lang="en-AU" sz="900" b="1" dirty="0">
                  <a:latin typeface="Arial Nova" panose="020B0504020202020204" pitchFamily="34" charset="0"/>
                  <a:ea typeface="Tahoma" panose="020B0604030504040204" pitchFamily="34" charset="0"/>
                  <a:cs typeface="Tahoma" panose="020B0604030504040204" pitchFamily="34" charset="0"/>
                </a:rPr>
                <a:t>Oracle physical </a:t>
              </a:r>
            </a:p>
            <a:p>
              <a:pPr algn="l"/>
              <a:r>
                <a:rPr lang="en-AU" sz="900" b="1" dirty="0">
                  <a:latin typeface="Arial Nova" panose="020B0504020202020204" pitchFamily="34" charset="0"/>
                  <a:ea typeface="Tahoma" panose="020B0604030504040204" pitchFamily="34" charset="0"/>
                  <a:cs typeface="Tahoma" panose="020B0604030504040204" pitchFamily="34" charset="0"/>
                </a:rPr>
                <a:t>servers</a:t>
              </a:r>
              <a:endParaRPr lang="en-AU" sz="900" b="1" baseline="50000" dirty="0">
                <a:latin typeface="Arial Nova" panose="020B0504020202020204" pitchFamily="34" charset="0"/>
                <a:ea typeface="Tahoma" panose="020B0604030504040204" pitchFamily="34" charset="0"/>
                <a:cs typeface="Tahoma" panose="020B0604030504040204" pitchFamily="34" charset="0"/>
              </a:endParaRPr>
            </a:p>
          </p:txBody>
        </p:sp>
        <p:pic>
          <p:nvPicPr>
            <p:cNvPr id="36" name="Graphic 35" descr="Database">
              <a:extLst>
                <a:ext uri="{FF2B5EF4-FFF2-40B4-BE49-F238E27FC236}">
                  <a16:creationId xmlns:a16="http://schemas.microsoft.com/office/drawing/2014/main" id="{9F748D48-2988-47CE-9B61-23675AFBC39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7920" y="2231122"/>
              <a:ext cx="400615" cy="400615"/>
            </a:xfrm>
            <a:prstGeom prst="rect">
              <a:avLst/>
            </a:prstGeom>
          </p:spPr>
        </p:pic>
        <p:cxnSp>
          <p:nvCxnSpPr>
            <p:cNvPr id="37" name="Straight Arrow Connector 36">
              <a:extLst>
                <a:ext uri="{FF2B5EF4-FFF2-40B4-BE49-F238E27FC236}">
                  <a16:creationId xmlns:a16="http://schemas.microsoft.com/office/drawing/2014/main" id="{E3816AD6-A86F-45E6-B5C8-36311404886A}"/>
                </a:ext>
              </a:extLst>
            </p:cNvPr>
            <p:cNvCxnSpPr>
              <a:cxnSpLocks/>
              <a:stCxn id="83" idx="13"/>
            </p:cNvCxnSpPr>
            <p:nvPr/>
          </p:nvCxnSpPr>
          <p:spPr>
            <a:xfrm>
              <a:off x="1880251" y="1543770"/>
              <a:ext cx="1631213" cy="886903"/>
            </a:xfrm>
            <a:prstGeom prst="straightConnector1">
              <a:avLst/>
            </a:prstGeom>
            <a:ln w="12700">
              <a:solidFill>
                <a:schemeClr val="tx1"/>
              </a:solidFill>
              <a:headEnd type="triangle" w="med" len="lg"/>
              <a:tailEnd type="triangle" w="med" len="lg"/>
            </a:ln>
          </p:spPr>
          <p:style>
            <a:lnRef idx="1">
              <a:schemeClr val="dk1"/>
            </a:lnRef>
            <a:fillRef idx="0">
              <a:schemeClr val="dk1"/>
            </a:fillRef>
            <a:effectRef idx="0">
              <a:schemeClr val="dk1"/>
            </a:effectRef>
            <a:fontRef idx="minor">
              <a:schemeClr val="tx1"/>
            </a:fontRef>
          </p:style>
        </p:cxnSp>
        <p:cxnSp>
          <p:nvCxnSpPr>
            <p:cNvPr id="38" name="Straight Arrow Connector 37">
              <a:extLst>
                <a:ext uri="{FF2B5EF4-FFF2-40B4-BE49-F238E27FC236}">
                  <a16:creationId xmlns:a16="http://schemas.microsoft.com/office/drawing/2014/main" id="{A237A8DD-DB97-4880-B61E-8F7C60F76953}"/>
                </a:ext>
              </a:extLst>
            </p:cNvPr>
            <p:cNvCxnSpPr>
              <a:cxnSpLocks/>
            </p:cNvCxnSpPr>
            <p:nvPr/>
          </p:nvCxnSpPr>
          <p:spPr>
            <a:xfrm flipV="1">
              <a:off x="1445554" y="2645178"/>
              <a:ext cx="2095425" cy="59706"/>
            </a:xfrm>
            <a:prstGeom prst="straightConnector1">
              <a:avLst/>
            </a:prstGeom>
            <a:ln w="22225"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9" name="TextBox 38">
              <a:extLst>
                <a:ext uri="{FF2B5EF4-FFF2-40B4-BE49-F238E27FC236}">
                  <a16:creationId xmlns:a16="http://schemas.microsoft.com/office/drawing/2014/main" id="{129A5CBB-AE2B-421B-8F7C-07BD474BC1D0}"/>
                </a:ext>
              </a:extLst>
            </p:cNvPr>
            <p:cNvSpPr txBox="1"/>
            <p:nvPr/>
          </p:nvSpPr>
          <p:spPr>
            <a:xfrm>
              <a:off x="3561150" y="4152506"/>
              <a:ext cx="184731" cy="230832"/>
            </a:xfrm>
            <a:prstGeom prst="rect">
              <a:avLst/>
            </a:prstGeom>
            <a:noFill/>
          </p:spPr>
          <p:txBody>
            <a:bodyPr wrap="none" rtlCol="0">
              <a:spAutoFit/>
            </a:bodyPr>
            <a:lstStyle/>
            <a:p>
              <a:pPr algn="l"/>
              <a:endParaRPr lang="en-AU" sz="900" b="1" dirty="0">
                <a:solidFill>
                  <a:srgbClr val="094E5D"/>
                </a:solidFill>
              </a:endParaRPr>
            </a:p>
          </p:txBody>
        </p:sp>
        <p:sp>
          <p:nvSpPr>
            <p:cNvPr id="40" name="TextBox 39">
              <a:extLst>
                <a:ext uri="{FF2B5EF4-FFF2-40B4-BE49-F238E27FC236}">
                  <a16:creationId xmlns:a16="http://schemas.microsoft.com/office/drawing/2014/main" id="{74A1C215-A7F8-4C01-891E-9CB393FBA46F}"/>
                </a:ext>
              </a:extLst>
            </p:cNvPr>
            <p:cNvSpPr txBox="1"/>
            <p:nvPr/>
          </p:nvSpPr>
          <p:spPr>
            <a:xfrm>
              <a:off x="3444388" y="4163760"/>
              <a:ext cx="1306768" cy="353943"/>
            </a:xfrm>
            <a:prstGeom prst="rect">
              <a:avLst/>
            </a:prstGeom>
            <a:noFill/>
          </p:spPr>
          <p:txBody>
            <a:bodyPr wrap="none" rtlCol="0">
              <a:spAutoFit/>
            </a:bodyPr>
            <a:lstStyle/>
            <a:p>
              <a:pPr algn="ctr"/>
              <a:r>
                <a:rPr lang="en-AU" sz="900" b="1" dirty="0">
                  <a:solidFill>
                    <a:srgbClr val="094E5D"/>
                  </a:solidFill>
                </a:rPr>
                <a:t>FNMS</a:t>
              </a:r>
              <a:r>
                <a:rPr lang="en-AU" sz="900" b="1" dirty="0">
                  <a:solidFill>
                    <a:schemeClr val="bg1">
                      <a:lumMod val="50000"/>
                    </a:schemeClr>
                  </a:solidFill>
                </a:rPr>
                <a:t> </a:t>
              </a:r>
              <a:r>
                <a:rPr lang="en-AU" sz="900" b="1" dirty="0">
                  <a:solidFill>
                    <a:srgbClr val="094E5D"/>
                  </a:solidFill>
                </a:rPr>
                <a:t>Cognos</a:t>
              </a:r>
            </a:p>
            <a:p>
              <a:r>
                <a:rPr lang="en-AU" sz="800" b="1" dirty="0"/>
                <a:t>svr0000003pr.acme.com</a:t>
              </a:r>
            </a:p>
          </p:txBody>
        </p:sp>
        <p:pic>
          <p:nvPicPr>
            <p:cNvPr id="41" name="Picture 6" descr="See the source image">
              <a:extLst>
                <a:ext uri="{FF2B5EF4-FFF2-40B4-BE49-F238E27FC236}">
                  <a16:creationId xmlns:a16="http://schemas.microsoft.com/office/drawing/2014/main" id="{CC298410-8E02-4CBD-A4D6-E07E50F9ABC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95287" y="3433900"/>
              <a:ext cx="706384" cy="706384"/>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Straight Arrow Connector 41">
              <a:extLst>
                <a:ext uri="{FF2B5EF4-FFF2-40B4-BE49-F238E27FC236}">
                  <a16:creationId xmlns:a16="http://schemas.microsoft.com/office/drawing/2014/main" id="{77F0682F-C6AA-4861-9277-EB22F94C1982}"/>
                </a:ext>
              </a:extLst>
            </p:cNvPr>
            <p:cNvCxnSpPr>
              <a:cxnSpLocks/>
            </p:cNvCxnSpPr>
            <p:nvPr/>
          </p:nvCxnSpPr>
          <p:spPr>
            <a:xfrm flipH="1">
              <a:off x="4226170" y="3005783"/>
              <a:ext cx="347417" cy="668330"/>
            </a:xfrm>
            <a:prstGeom prst="straightConnector1">
              <a:avLst/>
            </a:prstGeom>
            <a:ln w="12700">
              <a:solidFill>
                <a:schemeClr val="tx1"/>
              </a:solidFill>
              <a:headEnd type="triangle" w="med" len="lg"/>
              <a:tailEnd type="triangle" w="med" len="lg"/>
            </a:ln>
          </p:spPr>
          <p:style>
            <a:lnRef idx="1">
              <a:schemeClr val="dk1"/>
            </a:lnRef>
            <a:fillRef idx="0">
              <a:schemeClr val="dk1"/>
            </a:fillRef>
            <a:effectRef idx="0">
              <a:schemeClr val="dk1"/>
            </a:effectRef>
            <a:fontRef idx="minor">
              <a:schemeClr val="tx1"/>
            </a:fontRef>
          </p:style>
        </p:cxnSp>
        <p:pic>
          <p:nvPicPr>
            <p:cNvPr id="43" name="Picture 6" descr="See the source image">
              <a:extLst>
                <a:ext uri="{FF2B5EF4-FFF2-40B4-BE49-F238E27FC236}">
                  <a16:creationId xmlns:a16="http://schemas.microsoft.com/office/drawing/2014/main" id="{2011949C-859F-4FBA-878C-14E8678488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05311" y="3293752"/>
              <a:ext cx="853024" cy="853024"/>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295C14FA-D245-4105-83BC-214D42084DAD}"/>
                </a:ext>
              </a:extLst>
            </p:cNvPr>
            <p:cNvSpPr txBox="1"/>
            <p:nvPr/>
          </p:nvSpPr>
          <p:spPr>
            <a:xfrm>
              <a:off x="6874978" y="2940935"/>
              <a:ext cx="547055" cy="246221"/>
            </a:xfrm>
            <a:prstGeom prst="rect">
              <a:avLst/>
            </a:prstGeom>
            <a:noFill/>
          </p:spPr>
          <p:txBody>
            <a:bodyPr wrap="square" rtlCol="0">
              <a:spAutoFit/>
            </a:bodyPr>
            <a:lstStyle/>
            <a:p>
              <a:pPr algn="l"/>
              <a:r>
                <a:rPr lang="en-AU" sz="1000" b="1" dirty="0">
                  <a:solidFill>
                    <a:srgbClr val="094E5D"/>
                  </a:solidFill>
                </a:rPr>
                <a:t>Site-2</a:t>
              </a:r>
            </a:p>
          </p:txBody>
        </p:sp>
        <p:sp>
          <p:nvSpPr>
            <p:cNvPr id="45" name="TextBox 44">
              <a:extLst>
                <a:ext uri="{FF2B5EF4-FFF2-40B4-BE49-F238E27FC236}">
                  <a16:creationId xmlns:a16="http://schemas.microsoft.com/office/drawing/2014/main" id="{63A9BAB6-F33A-455C-9F58-CDD863C45057}"/>
                </a:ext>
              </a:extLst>
            </p:cNvPr>
            <p:cNvSpPr txBox="1"/>
            <p:nvPr/>
          </p:nvSpPr>
          <p:spPr>
            <a:xfrm>
              <a:off x="7805190" y="3647664"/>
              <a:ext cx="902811" cy="230832"/>
            </a:xfrm>
            <a:prstGeom prst="rect">
              <a:avLst/>
            </a:prstGeom>
            <a:noFill/>
          </p:spPr>
          <p:txBody>
            <a:bodyPr wrap="none" rtlCol="0">
              <a:spAutoFit/>
            </a:bodyPr>
            <a:lstStyle/>
            <a:p>
              <a:pPr algn="l"/>
              <a:r>
                <a:rPr lang="en-AU" sz="900" b="1" dirty="0">
                  <a:solidFill>
                    <a:srgbClr val="094E5D"/>
                  </a:solidFill>
                </a:rPr>
                <a:t>FNMS Beacon</a:t>
              </a:r>
            </a:p>
          </p:txBody>
        </p:sp>
        <p:cxnSp>
          <p:nvCxnSpPr>
            <p:cNvPr id="46" name="Straight Arrow Connector 45">
              <a:extLst>
                <a:ext uri="{FF2B5EF4-FFF2-40B4-BE49-F238E27FC236}">
                  <a16:creationId xmlns:a16="http://schemas.microsoft.com/office/drawing/2014/main" id="{1BF2D762-2947-400A-9278-8564186E4912}"/>
                </a:ext>
              </a:extLst>
            </p:cNvPr>
            <p:cNvCxnSpPr>
              <a:cxnSpLocks/>
            </p:cNvCxnSpPr>
            <p:nvPr/>
          </p:nvCxnSpPr>
          <p:spPr>
            <a:xfrm>
              <a:off x="5299587" y="2565383"/>
              <a:ext cx="1828207" cy="816566"/>
            </a:xfrm>
            <a:prstGeom prst="straightConnector1">
              <a:avLst/>
            </a:prstGeom>
            <a:ln w="22225"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7" name="TextBox 46">
              <a:extLst>
                <a:ext uri="{FF2B5EF4-FFF2-40B4-BE49-F238E27FC236}">
                  <a16:creationId xmlns:a16="http://schemas.microsoft.com/office/drawing/2014/main" id="{1BA5EFE5-A093-431D-A017-09A5B2136CC4}"/>
                </a:ext>
              </a:extLst>
            </p:cNvPr>
            <p:cNvSpPr txBox="1"/>
            <p:nvPr/>
          </p:nvSpPr>
          <p:spPr>
            <a:xfrm>
              <a:off x="7968589" y="3921088"/>
              <a:ext cx="614271" cy="276999"/>
            </a:xfrm>
            <a:prstGeom prst="rect">
              <a:avLst/>
            </a:prstGeom>
            <a:noFill/>
          </p:spPr>
          <p:txBody>
            <a:bodyPr wrap="none" rtlCol="0">
              <a:spAutoFit/>
            </a:bodyPr>
            <a:lstStyle/>
            <a:p>
              <a:pPr algn="l"/>
              <a:r>
                <a:rPr lang="en-AU" sz="1200" b="1" dirty="0">
                  <a:solidFill>
                    <a:schemeClr val="bg1"/>
                  </a:solidFill>
                  <a:latin typeface="Arial Nova" panose="020B0504020202020204" pitchFamily="34" charset="0"/>
                  <a:ea typeface="Tahoma" panose="020B0604030504040204" pitchFamily="34" charset="0"/>
                  <a:cs typeface="Tahoma" panose="020B0604030504040204" pitchFamily="34" charset="0"/>
                </a:rPr>
                <a:t>nbn</a:t>
              </a:r>
              <a:r>
                <a:rPr lang="en-AU" sz="1200" b="1" baseline="50000" dirty="0">
                  <a:solidFill>
                    <a:schemeClr val="bg1"/>
                  </a:solidFill>
                  <a:latin typeface="Arial Nova" panose="020B0504020202020204" pitchFamily="34" charset="0"/>
                  <a:ea typeface="Tahoma" panose="020B0604030504040204" pitchFamily="34" charset="0"/>
                  <a:cs typeface="Tahoma" panose="020B0604030504040204" pitchFamily="34" charset="0"/>
                </a:rPr>
                <a:t>TM</a:t>
              </a:r>
              <a:endParaRPr lang="en-AU" sz="1100" b="1" baseline="50000" dirty="0">
                <a:solidFill>
                  <a:schemeClr val="bg1"/>
                </a:solidFill>
                <a:latin typeface="Arial Nova" panose="020B0504020202020204" pitchFamily="34" charset="0"/>
                <a:ea typeface="Tahoma" panose="020B0604030504040204" pitchFamily="34" charset="0"/>
                <a:cs typeface="Tahoma" panose="020B0604030504040204" pitchFamily="34" charset="0"/>
              </a:endParaRPr>
            </a:p>
          </p:txBody>
        </p:sp>
        <p:sp>
          <p:nvSpPr>
            <p:cNvPr id="48" name="Graphic 42" descr="Cloud">
              <a:extLst>
                <a:ext uri="{FF2B5EF4-FFF2-40B4-BE49-F238E27FC236}">
                  <a16:creationId xmlns:a16="http://schemas.microsoft.com/office/drawing/2014/main" id="{0BC268D7-BB0B-4BA7-BC4A-8DB5C2540E17}"/>
                </a:ext>
              </a:extLst>
            </p:cNvPr>
            <p:cNvSpPr/>
            <p:nvPr/>
          </p:nvSpPr>
          <p:spPr>
            <a:xfrm>
              <a:off x="7694921" y="4026977"/>
              <a:ext cx="1115217" cy="630556"/>
            </a:xfrm>
            <a:custGeom>
              <a:avLst/>
              <a:gdLst>
                <a:gd name="connsiteX0" fmla="*/ 689427 w 800100"/>
                <a:gd name="connsiteY0" fmla="*/ 227507 h 447675"/>
                <a:gd name="connsiteX1" fmla="*/ 679902 w 800100"/>
                <a:gd name="connsiteY1" fmla="*/ 227507 h 447675"/>
                <a:gd name="connsiteX2" fmla="*/ 679902 w 800100"/>
                <a:gd name="connsiteY2" fmla="*/ 227507 h 447675"/>
                <a:gd name="connsiteX3" fmla="*/ 619895 w 800100"/>
                <a:gd name="connsiteY3" fmla="*/ 111302 h 447675"/>
                <a:gd name="connsiteX4" fmla="*/ 489403 w 800100"/>
                <a:gd name="connsiteY4" fmla="*/ 93204 h 447675"/>
                <a:gd name="connsiteX5" fmla="*/ 296998 w 800100"/>
                <a:gd name="connsiteY5" fmla="*/ 4622 h 447675"/>
                <a:gd name="connsiteX6" fmla="*/ 165552 w 800100"/>
                <a:gd name="connsiteY6" fmla="*/ 170357 h 447675"/>
                <a:gd name="connsiteX7" fmla="*/ 165552 w 800100"/>
                <a:gd name="connsiteY7" fmla="*/ 172262 h 447675"/>
                <a:gd name="connsiteX8" fmla="*/ 28392 w 800100"/>
                <a:gd name="connsiteY8" fmla="*/ 227507 h 447675"/>
                <a:gd name="connsiteX9" fmla="*/ 13152 w 800100"/>
                <a:gd name="connsiteY9" fmla="*/ 374192 h 447675"/>
                <a:gd name="connsiteX10" fmla="*/ 136025 w 800100"/>
                <a:gd name="connsiteY10" fmla="*/ 456107 h 447675"/>
                <a:gd name="connsiteX11" fmla="*/ 136025 w 800100"/>
                <a:gd name="connsiteY11" fmla="*/ 457059 h 447675"/>
                <a:gd name="connsiteX12" fmla="*/ 688475 w 800100"/>
                <a:gd name="connsiteY12" fmla="*/ 457059 h 447675"/>
                <a:gd name="connsiteX13" fmla="*/ 802775 w 800100"/>
                <a:gd name="connsiteY13" fmla="*/ 342759 h 447675"/>
                <a:gd name="connsiteX14" fmla="*/ 689427 w 800100"/>
                <a:gd name="connsiteY14" fmla="*/ 227507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0100" h="447675">
                  <a:moveTo>
                    <a:pt x="689427" y="227507"/>
                  </a:moveTo>
                  <a:cubicBezTo>
                    <a:pt x="686570" y="227507"/>
                    <a:pt x="682760" y="227507"/>
                    <a:pt x="679902" y="227507"/>
                  </a:cubicBezTo>
                  <a:cubicBezTo>
                    <a:pt x="679902" y="227507"/>
                    <a:pt x="679902" y="227507"/>
                    <a:pt x="679902" y="227507"/>
                  </a:cubicBezTo>
                  <a:cubicBezTo>
                    <a:pt x="679902" y="180834"/>
                    <a:pt x="657043" y="137972"/>
                    <a:pt x="619895" y="111302"/>
                  </a:cubicBezTo>
                  <a:cubicBezTo>
                    <a:pt x="581795" y="84632"/>
                    <a:pt x="533218" y="77964"/>
                    <a:pt x="489403" y="93204"/>
                  </a:cubicBezTo>
                  <a:cubicBezTo>
                    <a:pt x="453208" y="22719"/>
                    <a:pt x="373198" y="-13476"/>
                    <a:pt x="296998" y="4622"/>
                  </a:cubicBezTo>
                  <a:cubicBezTo>
                    <a:pt x="220797" y="22719"/>
                    <a:pt x="165552" y="91299"/>
                    <a:pt x="165552" y="170357"/>
                  </a:cubicBezTo>
                  <a:cubicBezTo>
                    <a:pt x="165552" y="170357"/>
                    <a:pt x="165552" y="171309"/>
                    <a:pt x="165552" y="172262"/>
                  </a:cubicBezTo>
                  <a:cubicBezTo>
                    <a:pt x="113165" y="163689"/>
                    <a:pt x="60777" y="185597"/>
                    <a:pt x="28392" y="227507"/>
                  </a:cubicBezTo>
                  <a:cubicBezTo>
                    <a:pt x="-3040" y="270369"/>
                    <a:pt x="-8755" y="326567"/>
                    <a:pt x="13152" y="374192"/>
                  </a:cubicBezTo>
                  <a:cubicBezTo>
                    <a:pt x="36012" y="421817"/>
                    <a:pt x="83637" y="453249"/>
                    <a:pt x="136025" y="456107"/>
                  </a:cubicBezTo>
                  <a:lnTo>
                    <a:pt x="136025" y="457059"/>
                  </a:lnTo>
                  <a:lnTo>
                    <a:pt x="688475" y="457059"/>
                  </a:lnTo>
                  <a:cubicBezTo>
                    <a:pt x="751340" y="457059"/>
                    <a:pt x="802775" y="405624"/>
                    <a:pt x="802775" y="342759"/>
                  </a:cubicBezTo>
                  <a:cubicBezTo>
                    <a:pt x="802775" y="279894"/>
                    <a:pt x="752293" y="227507"/>
                    <a:pt x="689427" y="227507"/>
                  </a:cubicBezTo>
                  <a:close/>
                </a:path>
              </a:pathLst>
            </a:custGeom>
            <a:pattFill prst="pct50">
              <a:fgClr>
                <a:schemeClr val="tx1"/>
              </a:fgClr>
              <a:bgClr>
                <a:schemeClr val="bg1"/>
              </a:bgClr>
            </a:pattFill>
            <a:ln w="25400" cap="flat">
              <a:solidFill>
                <a:srgbClr val="2699F4"/>
              </a:solidFill>
              <a:prstDash val="solid"/>
              <a:miter/>
            </a:ln>
          </p:spPr>
          <p:txBody>
            <a:bodyPr rtlCol="0" anchor="ctr"/>
            <a:lstStyle/>
            <a:p>
              <a:endParaRPr lang="en-AU" dirty="0"/>
            </a:p>
          </p:txBody>
        </p:sp>
        <p:sp>
          <p:nvSpPr>
            <p:cNvPr id="49" name="TextBox 48">
              <a:extLst>
                <a:ext uri="{FF2B5EF4-FFF2-40B4-BE49-F238E27FC236}">
                  <a16:creationId xmlns:a16="http://schemas.microsoft.com/office/drawing/2014/main" id="{9819F54E-8CA0-46E3-8C8C-8FC56C713EEF}"/>
                </a:ext>
              </a:extLst>
            </p:cNvPr>
            <p:cNvSpPr txBox="1"/>
            <p:nvPr/>
          </p:nvSpPr>
          <p:spPr>
            <a:xfrm>
              <a:off x="7900036" y="4122022"/>
              <a:ext cx="776046" cy="276999"/>
            </a:xfrm>
            <a:prstGeom prst="rect">
              <a:avLst/>
            </a:prstGeom>
            <a:noFill/>
          </p:spPr>
          <p:txBody>
            <a:bodyPr wrap="none" rtlCol="0">
              <a:spAutoFit/>
            </a:bodyPr>
            <a:lstStyle/>
            <a:p>
              <a:pPr algn="l"/>
              <a:r>
                <a:rPr lang="en-AU" sz="1200" b="1" dirty="0">
                  <a:solidFill>
                    <a:schemeClr val="bg1"/>
                  </a:solidFill>
                  <a:latin typeface="Arial Nova" panose="020B0504020202020204" pitchFamily="34" charset="0"/>
                  <a:ea typeface="Tahoma" panose="020B0604030504040204" pitchFamily="34" charset="0"/>
                  <a:cs typeface="Tahoma" panose="020B0604030504040204" pitchFamily="34" charset="0"/>
                </a:rPr>
                <a:t>VMware</a:t>
              </a:r>
              <a:endParaRPr lang="en-AU" sz="1100" b="1" baseline="50000" dirty="0">
                <a:solidFill>
                  <a:schemeClr val="bg1"/>
                </a:solidFill>
                <a:latin typeface="Arial Nova" panose="020B0504020202020204" pitchFamily="34" charset="0"/>
                <a:ea typeface="Tahoma" panose="020B0604030504040204" pitchFamily="34" charset="0"/>
                <a:cs typeface="Tahoma" panose="020B0604030504040204" pitchFamily="34" charset="0"/>
              </a:endParaRPr>
            </a:p>
          </p:txBody>
        </p:sp>
        <p:cxnSp>
          <p:nvCxnSpPr>
            <p:cNvPr id="50" name="Straight Arrow Connector 49">
              <a:extLst>
                <a:ext uri="{FF2B5EF4-FFF2-40B4-BE49-F238E27FC236}">
                  <a16:creationId xmlns:a16="http://schemas.microsoft.com/office/drawing/2014/main" id="{2A74ED2C-6183-4C1B-91AE-C2F3DEB0DA19}"/>
                </a:ext>
              </a:extLst>
            </p:cNvPr>
            <p:cNvCxnSpPr>
              <a:cxnSpLocks/>
              <a:stCxn id="43" idx="2"/>
              <a:endCxn id="48" idx="8"/>
            </p:cNvCxnSpPr>
            <p:nvPr/>
          </p:nvCxnSpPr>
          <p:spPr>
            <a:xfrm>
              <a:off x="7331823" y="4146776"/>
              <a:ext cx="402672" cy="200648"/>
            </a:xfrm>
            <a:prstGeom prst="straightConnector1">
              <a:avLst/>
            </a:prstGeom>
            <a:ln w="22225"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51" name="Picture 50">
              <a:extLst>
                <a:ext uri="{FF2B5EF4-FFF2-40B4-BE49-F238E27FC236}">
                  <a16:creationId xmlns:a16="http://schemas.microsoft.com/office/drawing/2014/main" id="{5C071878-4C67-4270-9B10-BB27EAF98D31}"/>
                </a:ext>
              </a:extLst>
            </p:cNvPr>
            <p:cNvPicPr>
              <a:picLocks noChangeAspect="1"/>
            </p:cNvPicPr>
            <p:nvPr/>
          </p:nvPicPr>
          <p:blipFill>
            <a:blip r:embed="rId9"/>
            <a:stretch>
              <a:fillRect/>
            </a:stretch>
          </p:blipFill>
          <p:spPr>
            <a:xfrm>
              <a:off x="7922071" y="4486092"/>
              <a:ext cx="156486" cy="142967"/>
            </a:xfrm>
            <a:prstGeom prst="rect">
              <a:avLst/>
            </a:prstGeom>
          </p:spPr>
        </p:pic>
        <p:pic>
          <p:nvPicPr>
            <p:cNvPr id="52" name="Picture 51">
              <a:extLst>
                <a:ext uri="{FF2B5EF4-FFF2-40B4-BE49-F238E27FC236}">
                  <a16:creationId xmlns:a16="http://schemas.microsoft.com/office/drawing/2014/main" id="{9FB8CBCD-F464-4F61-9785-4070A48F06AB}"/>
                </a:ext>
              </a:extLst>
            </p:cNvPr>
            <p:cNvPicPr>
              <a:picLocks noChangeAspect="1"/>
            </p:cNvPicPr>
            <p:nvPr/>
          </p:nvPicPr>
          <p:blipFill>
            <a:blip r:embed="rId10"/>
            <a:stretch>
              <a:fillRect/>
            </a:stretch>
          </p:blipFill>
          <p:spPr>
            <a:xfrm>
              <a:off x="8111557" y="4475626"/>
              <a:ext cx="548492" cy="173014"/>
            </a:xfrm>
            <a:prstGeom prst="rect">
              <a:avLst/>
            </a:prstGeom>
          </p:spPr>
        </p:pic>
        <p:sp>
          <p:nvSpPr>
            <p:cNvPr id="53" name="TextBox 52">
              <a:extLst>
                <a:ext uri="{FF2B5EF4-FFF2-40B4-BE49-F238E27FC236}">
                  <a16:creationId xmlns:a16="http://schemas.microsoft.com/office/drawing/2014/main" id="{028630D8-6DC6-441F-8BB5-4F2A70845FD2}"/>
                </a:ext>
              </a:extLst>
            </p:cNvPr>
            <p:cNvSpPr txBox="1"/>
            <p:nvPr/>
          </p:nvSpPr>
          <p:spPr>
            <a:xfrm rot="1579177">
              <a:off x="7092975" y="4236779"/>
              <a:ext cx="654931" cy="215444"/>
            </a:xfrm>
            <a:prstGeom prst="rect">
              <a:avLst/>
            </a:prstGeom>
            <a:noFill/>
          </p:spPr>
          <p:txBody>
            <a:bodyPr wrap="square" rtlCol="0">
              <a:spAutoFit/>
            </a:bodyPr>
            <a:lstStyle/>
            <a:p>
              <a:r>
                <a:rPr lang="en-AU" sz="800" b="1" dirty="0"/>
                <a:t>ETA Sep 30</a:t>
              </a:r>
            </a:p>
          </p:txBody>
        </p:sp>
        <p:sp>
          <p:nvSpPr>
            <p:cNvPr id="54" name="TextBox 53">
              <a:extLst>
                <a:ext uri="{FF2B5EF4-FFF2-40B4-BE49-F238E27FC236}">
                  <a16:creationId xmlns:a16="http://schemas.microsoft.com/office/drawing/2014/main" id="{06F3478C-971E-4F88-946B-67C5FB34A18B}"/>
                </a:ext>
              </a:extLst>
            </p:cNvPr>
            <p:cNvSpPr txBox="1"/>
            <p:nvPr/>
          </p:nvSpPr>
          <p:spPr>
            <a:xfrm>
              <a:off x="7580628" y="3777688"/>
              <a:ext cx="1306768" cy="215444"/>
            </a:xfrm>
            <a:prstGeom prst="rect">
              <a:avLst/>
            </a:prstGeom>
            <a:noFill/>
          </p:spPr>
          <p:txBody>
            <a:bodyPr wrap="none" rtlCol="0">
              <a:spAutoFit/>
            </a:bodyPr>
            <a:lstStyle/>
            <a:p>
              <a:r>
                <a:rPr lang="en-GB" sz="800" b="1" dirty="0"/>
                <a:t>svr0000005pr.acme.com</a:t>
              </a:r>
              <a:endParaRPr lang="en-AU" sz="800" b="1" dirty="0"/>
            </a:p>
          </p:txBody>
        </p:sp>
        <p:sp>
          <p:nvSpPr>
            <p:cNvPr id="55" name="TextBox 54">
              <a:extLst>
                <a:ext uri="{FF2B5EF4-FFF2-40B4-BE49-F238E27FC236}">
                  <a16:creationId xmlns:a16="http://schemas.microsoft.com/office/drawing/2014/main" id="{4827AD72-5D94-447A-A64B-B2F1A3D8EB80}"/>
                </a:ext>
              </a:extLst>
            </p:cNvPr>
            <p:cNvSpPr txBox="1"/>
            <p:nvPr/>
          </p:nvSpPr>
          <p:spPr>
            <a:xfrm>
              <a:off x="3634310" y="2005209"/>
              <a:ext cx="920445" cy="246221"/>
            </a:xfrm>
            <a:prstGeom prst="rect">
              <a:avLst/>
            </a:prstGeom>
            <a:noFill/>
          </p:spPr>
          <p:txBody>
            <a:bodyPr wrap="none" rtlCol="0">
              <a:spAutoFit/>
            </a:bodyPr>
            <a:lstStyle/>
            <a:p>
              <a:pPr algn="l"/>
              <a:r>
                <a:rPr lang="en-AU" sz="1000" b="1" dirty="0">
                  <a:solidFill>
                    <a:srgbClr val="094E5D"/>
                  </a:solidFill>
                </a:rPr>
                <a:t>FNMS Beacon</a:t>
              </a:r>
            </a:p>
          </p:txBody>
        </p:sp>
        <p:pic>
          <p:nvPicPr>
            <p:cNvPr id="56" name="Picture 55">
              <a:extLst>
                <a:ext uri="{FF2B5EF4-FFF2-40B4-BE49-F238E27FC236}">
                  <a16:creationId xmlns:a16="http://schemas.microsoft.com/office/drawing/2014/main" id="{3F481301-CC0D-4923-AC59-07C5997F56E4}"/>
                </a:ext>
              </a:extLst>
            </p:cNvPr>
            <p:cNvPicPr>
              <a:picLocks noChangeAspect="1"/>
            </p:cNvPicPr>
            <p:nvPr/>
          </p:nvPicPr>
          <p:blipFill>
            <a:blip r:embed="rId9"/>
            <a:stretch>
              <a:fillRect/>
            </a:stretch>
          </p:blipFill>
          <p:spPr>
            <a:xfrm>
              <a:off x="2122701" y="1318258"/>
              <a:ext cx="156486" cy="142967"/>
            </a:xfrm>
            <a:prstGeom prst="rect">
              <a:avLst/>
            </a:prstGeom>
          </p:spPr>
        </p:pic>
        <p:pic>
          <p:nvPicPr>
            <p:cNvPr id="57" name="Picture 56">
              <a:extLst>
                <a:ext uri="{FF2B5EF4-FFF2-40B4-BE49-F238E27FC236}">
                  <a16:creationId xmlns:a16="http://schemas.microsoft.com/office/drawing/2014/main" id="{E73CE88E-0000-4C00-A833-29785A8B1B93}"/>
                </a:ext>
              </a:extLst>
            </p:cNvPr>
            <p:cNvPicPr>
              <a:picLocks noChangeAspect="1"/>
            </p:cNvPicPr>
            <p:nvPr/>
          </p:nvPicPr>
          <p:blipFill>
            <a:blip r:embed="rId9"/>
            <a:stretch>
              <a:fillRect/>
            </a:stretch>
          </p:blipFill>
          <p:spPr>
            <a:xfrm>
              <a:off x="1496799" y="2266427"/>
              <a:ext cx="156486" cy="142967"/>
            </a:xfrm>
            <a:prstGeom prst="rect">
              <a:avLst/>
            </a:prstGeom>
          </p:spPr>
        </p:pic>
        <p:pic>
          <p:nvPicPr>
            <p:cNvPr id="58" name="Picture 57">
              <a:extLst>
                <a:ext uri="{FF2B5EF4-FFF2-40B4-BE49-F238E27FC236}">
                  <a16:creationId xmlns:a16="http://schemas.microsoft.com/office/drawing/2014/main" id="{86C722FF-CD79-44D9-8CD5-7FCF098C538A}"/>
                </a:ext>
              </a:extLst>
            </p:cNvPr>
            <p:cNvPicPr>
              <a:picLocks noChangeAspect="1"/>
            </p:cNvPicPr>
            <p:nvPr/>
          </p:nvPicPr>
          <p:blipFill>
            <a:blip r:embed="rId9"/>
            <a:stretch>
              <a:fillRect/>
            </a:stretch>
          </p:blipFill>
          <p:spPr>
            <a:xfrm>
              <a:off x="1235180" y="1533624"/>
              <a:ext cx="156486" cy="142967"/>
            </a:xfrm>
            <a:prstGeom prst="rect">
              <a:avLst/>
            </a:prstGeom>
          </p:spPr>
        </p:pic>
        <p:pic>
          <p:nvPicPr>
            <p:cNvPr id="59" name="Picture 58">
              <a:extLst>
                <a:ext uri="{FF2B5EF4-FFF2-40B4-BE49-F238E27FC236}">
                  <a16:creationId xmlns:a16="http://schemas.microsoft.com/office/drawing/2014/main" id="{AC4C7BDF-6E7E-4220-9A22-35AB1D0B19FA}"/>
                </a:ext>
              </a:extLst>
            </p:cNvPr>
            <p:cNvPicPr>
              <a:picLocks noChangeAspect="1"/>
            </p:cNvPicPr>
            <p:nvPr/>
          </p:nvPicPr>
          <p:blipFill>
            <a:blip r:embed="rId10"/>
            <a:stretch>
              <a:fillRect/>
            </a:stretch>
          </p:blipFill>
          <p:spPr>
            <a:xfrm>
              <a:off x="2312187" y="1307792"/>
              <a:ext cx="548492" cy="173014"/>
            </a:xfrm>
            <a:prstGeom prst="rect">
              <a:avLst/>
            </a:prstGeom>
          </p:spPr>
        </p:pic>
        <p:sp>
          <p:nvSpPr>
            <p:cNvPr id="60" name="Rectangle 59">
              <a:extLst>
                <a:ext uri="{FF2B5EF4-FFF2-40B4-BE49-F238E27FC236}">
                  <a16:creationId xmlns:a16="http://schemas.microsoft.com/office/drawing/2014/main" id="{966F52C1-CC21-4B0E-9DA0-CEA771CEAE69}"/>
                </a:ext>
              </a:extLst>
            </p:cNvPr>
            <p:cNvSpPr/>
            <p:nvPr/>
          </p:nvSpPr>
          <p:spPr>
            <a:xfrm>
              <a:off x="232046" y="3101201"/>
              <a:ext cx="2581858" cy="1518823"/>
            </a:xfrm>
            <a:prstGeom prst="rect">
              <a:avLst/>
            </a:prstGeom>
            <a:solidFill>
              <a:srgbClr val="FFFA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61" name="TextBox 60">
              <a:extLst>
                <a:ext uri="{FF2B5EF4-FFF2-40B4-BE49-F238E27FC236}">
                  <a16:creationId xmlns:a16="http://schemas.microsoft.com/office/drawing/2014/main" id="{7BF3E558-B09F-4EFD-8DC5-89077D2054BD}"/>
                </a:ext>
              </a:extLst>
            </p:cNvPr>
            <p:cNvSpPr txBox="1"/>
            <p:nvPr/>
          </p:nvSpPr>
          <p:spPr>
            <a:xfrm>
              <a:off x="211729" y="3059246"/>
              <a:ext cx="547055" cy="246221"/>
            </a:xfrm>
            <a:prstGeom prst="rect">
              <a:avLst/>
            </a:prstGeom>
            <a:noFill/>
          </p:spPr>
          <p:txBody>
            <a:bodyPr wrap="square" rtlCol="0">
              <a:spAutoFit/>
            </a:bodyPr>
            <a:lstStyle/>
            <a:p>
              <a:pPr algn="l"/>
              <a:r>
                <a:rPr lang="en-AU" sz="1000" b="1" dirty="0">
                  <a:solidFill>
                    <a:srgbClr val="094E5D"/>
                  </a:solidFill>
                </a:rPr>
                <a:t>Site-1</a:t>
              </a:r>
            </a:p>
          </p:txBody>
        </p:sp>
        <p:pic>
          <p:nvPicPr>
            <p:cNvPr id="62" name="Picture 6" descr="See the source image">
              <a:extLst>
                <a:ext uri="{FF2B5EF4-FFF2-40B4-BE49-F238E27FC236}">
                  <a16:creationId xmlns:a16="http://schemas.microsoft.com/office/drawing/2014/main" id="{DA38B118-8F85-42A5-9B0A-DC7EE1B380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64906" y="3603150"/>
              <a:ext cx="853024" cy="853024"/>
            </a:xfrm>
            <a:prstGeom prst="rect">
              <a:avLst/>
            </a:prstGeom>
            <a:noFill/>
            <a:extLst>
              <a:ext uri="{909E8E84-426E-40DD-AFC4-6F175D3DCCD1}">
                <a14:hiddenFill xmlns:a14="http://schemas.microsoft.com/office/drawing/2010/main">
                  <a:solidFill>
                    <a:srgbClr val="FFFFFF"/>
                  </a:solidFill>
                </a14:hiddenFill>
              </a:ext>
            </a:extLst>
          </p:spPr>
        </p:pic>
        <p:sp>
          <p:nvSpPr>
            <p:cNvPr id="63" name="TextBox 62">
              <a:extLst>
                <a:ext uri="{FF2B5EF4-FFF2-40B4-BE49-F238E27FC236}">
                  <a16:creationId xmlns:a16="http://schemas.microsoft.com/office/drawing/2014/main" id="{C6E8D28D-AE31-49EC-9DB7-23FFA1A8407D}"/>
                </a:ext>
              </a:extLst>
            </p:cNvPr>
            <p:cNvSpPr txBox="1"/>
            <p:nvPr/>
          </p:nvSpPr>
          <p:spPr>
            <a:xfrm>
              <a:off x="1602942" y="3301433"/>
              <a:ext cx="902811" cy="230832"/>
            </a:xfrm>
            <a:prstGeom prst="rect">
              <a:avLst/>
            </a:prstGeom>
            <a:noFill/>
          </p:spPr>
          <p:txBody>
            <a:bodyPr wrap="none" rtlCol="0">
              <a:spAutoFit/>
            </a:bodyPr>
            <a:lstStyle/>
            <a:p>
              <a:pPr algn="l"/>
              <a:r>
                <a:rPr lang="en-AU" sz="900" b="1" dirty="0">
                  <a:solidFill>
                    <a:srgbClr val="094E5D"/>
                  </a:solidFill>
                </a:rPr>
                <a:t>FNMS Beacon</a:t>
              </a:r>
            </a:p>
          </p:txBody>
        </p:sp>
        <p:cxnSp>
          <p:nvCxnSpPr>
            <p:cNvPr id="64" name="Straight Arrow Connector 63">
              <a:extLst>
                <a:ext uri="{FF2B5EF4-FFF2-40B4-BE49-F238E27FC236}">
                  <a16:creationId xmlns:a16="http://schemas.microsoft.com/office/drawing/2014/main" id="{37888486-31F5-47D1-99A1-C92444BA0FA1}"/>
                </a:ext>
              </a:extLst>
            </p:cNvPr>
            <p:cNvCxnSpPr>
              <a:cxnSpLocks/>
            </p:cNvCxnSpPr>
            <p:nvPr/>
          </p:nvCxnSpPr>
          <p:spPr>
            <a:xfrm flipV="1">
              <a:off x="2353407" y="2752975"/>
              <a:ext cx="2316115" cy="1456133"/>
            </a:xfrm>
            <a:prstGeom prst="straightConnector1">
              <a:avLst/>
            </a:prstGeom>
            <a:ln w="12700">
              <a:headEnd type="triangle" w="med" len="lg"/>
              <a:tailEnd type="triangle" w="med" len="lg"/>
            </a:ln>
          </p:spPr>
          <p:style>
            <a:lnRef idx="1">
              <a:schemeClr val="dk1"/>
            </a:lnRef>
            <a:fillRef idx="0">
              <a:schemeClr val="dk1"/>
            </a:fillRef>
            <a:effectRef idx="0">
              <a:schemeClr val="dk1"/>
            </a:effectRef>
            <a:fontRef idx="minor">
              <a:schemeClr val="tx1"/>
            </a:fontRef>
          </p:style>
        </p:cxnSp>
        <p:sp>
          <p:nvSpPr>
            <p:cNvPr id="65" name="TextBox 64">
              <a:extLst>
                <a:ext uri="{FF2B5EF4-FFF2-40B4-BE49-F238E27FC236}">
                  <a16:creationId xmlns:a16="http://schemas.microsoft.com/office/drawing/2014/main" id="{B33AB947-9C66-4ED4-B4CD-34F4771C0A1A}"/>
                </a:ext>
              </a:extLst>
            </p:cNvPr>
            <p:cNvSpPr txBox="1"/>
            <p:nvPr/>
          </p:nvSpPr>
          <p:spPr>
            <a:xfrm>
              <a:off x="1386549" y="3453959"/>
              <a:ext cx="1306768" cy="215444"/>
            </a:xfrm>
            <a:prstGeom prst="rect">
              <a:avLst/>
            </a:prstGeom>
            <a:noFill/>
          </p:spPr>
          <p:txBody>
            <a:bodyPr wrap="none" rtlCol="0">
              <a:spAutoFit/>
            </a:bodyPr>
            <a:lstStyle/>
            <a:p>
              <a:r>
                <a:rPr lang="en-GB" sz="800" b="1" dirty="0"/>
                <a:t>svr0000004pr.acme.com</a:t>
              </a:r>
              <a:endParaRPr lang="en-AU" sz="800" b="1" dirty="0"/>
            </a:p>
          </p:txBody>
        </p:sp>
        <p:sp>
          <p:nvSpPr>
            <p:cNvPr id="66" name="Graphic 42" descr="Cloud">
              <a:extLst>
                <a:ext uri="{FF2B5EF4-FFF2-40B4-BE49-F238E27FC236}">
                  <a16:creationId xmlns:a16="http://schemas.microsoft.com/office/drawing/2014/main" id="{981B7736-26FB-409E-BCF4-CB04E8A9471C}"/>
                </a:ext>
              </a:extLst>
            </p:cNvPr>
            <p:cNvSpPr/>
            <p:nvPr/>
          </p:nvSpPr>
          <p:spPr>
            <a:xfrm>
              <a:off x="317432" y="3429924"/>
              <a:ext cx="1115217" cy="630556"/>
            </a:xfrm>
            <a:custGeom>
              <a:avLst/>
              <a:gdLst>
                <a:gd name="connsiteX0" fmla="*/ 689427 w 800100"/>
                <a:gd name="connsiteY0" fmla="*/ 227507 h 447675"/>
                <a:gd name="connsiteX1" fmla="*/ 679902 w 800100"/>
                <a:gd name="connsiteY1" fmla="*/ 227507 h 447675"/>
                <a:gd name="connsiteX2" fmla="*/ 679902 w 800100"/>
                <a:gd name="connsiteY2" fmla="*/ 227507 h 447675"/>
                <a:gd name="connsiteX3" fmla="*/ 619895 w 800100"/>
                <a:gd name="connsiteY3" fmla="*/ 111302 h 447675"/>
                <a:gd name="connsiteX4" fmla="*/ 489403 w 800100"/>
                <a:gd name="connsiteY4" fmla="*/ 93204 h 447675"/>
                <a:gd name="connsiteX5" fmla="*/ 296998 w 800100"/>
                <a:gd name="connsiteY5" fmla="*/ 4622 h 447675"/>
                <a:gd name="connsiteX6" fmla="*/ 165552 w 800100"/>
                <a:gd name="connsiteY6" fmla="*/ 170357 h 447675"/>
                <a:gd name="connsiteX7" fmla="*/ 165552 w 800100"/>
                <a:gd name="connsiteY7" fmla="*/ 172262 h 447675"/>
                <a:gd name="connsiteX8" fmla="*/ 28392 w 800100"/>
                <a:gd name="connsiteY8" fmla="*/ 227507 h 447675"/>
                <a:gd name="connsiteX9" fmla="*/ 13152 w 800100"/>
                <a:gd name="connsiteY9" fmla="*/ 374192 h 447675"/>
                <a:gd name="connsiteX10" fmla="*/ 136025 w 800100"/>
                <a:gd name="connsiteY10" fmla="*/ 456107 h 447675"/>
                <a:gd name="connsiteX11" fmla="*/ 136025 w 800100"/>
                <a:gd name="connsiteY11" fmla="*/ 457059 h 447675"/>
                <a:gd name="connsiteX12" fmla="*/ 688475 w 800100"/>
                <a:gd name="connsiteY12" fmla="*/ 457059 h 447675"/>
                <a:gd name="connsiteX13" fmla="*/ 802775 w 800100"/>
                <a:gd name="connsiteY13" fmla="*/ 342759 h 447675"/>
                <a:gd name="connsiteX14" fmla="*/ 689427 w 800100"/>
                <a:gd name="connsiteY14" fmla="*/ 227507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0100" h="447675">
                  <a:moveTo>
                    <a:pt x="689427" y="227507"/>
                  </a:moveTo>
                  <a:cubicBezTo>
                    <a:pt x="686570" y="227507"/>
                    <a:pt x="682760" y="227507"/>
                    <a:pt x="679902" y="227507"/>
                  </a:cubicBezTo>
                  <a:cubicBezTo>
                    <a:pt x="679902" y="227507"/>
                    <a:pt x="679902" y="227507"/>
                    <a:pt x="679902" y="227507"/>
                  </a:cubicBezTo>
                  <a:cubicBezTo>
                    <a:pt x="679902" y="180834"/>
                    <a:pt x="657043" y="137972"/>
                    <a:pt x="619895" y="111302"/>
                  </a:cubicBezTo>
                  <a:cubicBezTo>
                    <a:pt x="581795" y="84632"/>
                    <a:pt x="533218" y="77964"/>
                    <a:pt x="489403" y="93204"/>
                  </a:cubicBezTo>
                  <a:cubicBezTo>
                    <a:pt x="453208" y="22719"/>
                    <a:pt x="373198" y="-13476"/>
                    <a:pt x="296998" y="4622"/>
                  </a:cubicBezTo>
                  <a:cubicBezTo>
                    <a:pt x="220797" y="22719"/>
                    <a:pt x="165552" y="91299"/>
                    <a:pt x="165552" y="170357"/>
                  </a:cubicBezTo>
                  <a:cubicBezTo>
                    <a:pt x="165552" y="170357"/>
                    <a:pt x="165552" y="171309"/>
                    <a:pt x="165552" y="172262"/>
                  </a:cubicBezTo>
                  <a:cubicBezTo>
                    <a:pt x="113165" y="163689"/>
                    <a:pt x="60777" y="185597"/>
                    <a:pt x="28392" y="227507"/>
                  </a:cubicBezTo>
                  <a:cubicBezTo>
                    <a:pt x="-3040" y="270369"/>
                    <a:pt x="-8755" y="326567"/>
                    <a:pt x="13152" y="374192"/>
                  </a:cubicBezTo>
                  <a:cubicBezTo>
                    <a:pt x="36012" y="421817"/>
                    <a:pt x="83637" y="453249"/>
                    <a:pt x="136025" y="456107"/>
                  </a:cubicBezTo>
                  <a:lnTo>
                    <a:pt x="136025" y="457059"/>
                  </a:lnTo>
                  <a:lnTo>
                    <a:pt x="688475" y="457059"/>
                  </a:lnTo>
                  <a:cubicBezTo>
                    <a:pt x="751340" y="457059"/>
                    <a:pt x="802775" y="405624"/>
                    <a:pt x="802775" y="342759"/>
                  </a:cubicBezTo>
                  <a:cubicBezTo>
                    <a:pt x="802775" y="279894"/>
                    <a:pt x="752293" y="227507"/>
                    <a:pt x="689427" y="227507"/>
                  </a:cubicBezTo>
                  <a:close/>
                </a:path>
              </a:pathLst>
            </a:custGeom>
            <a:solidFill>
              <a:srgbClr val="2699F4"/>
            </a:solidFill>
            <a:ln w="9525" cap="flat">
              <a:noFill/>
              <a:prstDash val="solid"/>
              <a:miter/>
            </a:ln>
          </p:spPr>
          <p:txBody>
            <a:bodyPr rtlCol="0" anchor="ctr"/>
            <a:lstStyle/>
            <a:p>
              <a:endParaRPr lang="en-AU" dirty="0"/>
            </a:p>
          </p:txBody>
        </p:sp>
        <p:sp>
          <p:nvSpPr>
            <p:cNvPr id="67" name="TextBox 66">
              <a:extLst>
                <a:ext uri="{FF2B5EF4-FFF2-40B4-BE49-F238E27FC236}">
                  <a16:creationId xmlns:a16="http://schemas.microsoft.com/office/drawing/2014/main" id="{A3D25F72-44B1-4E72-A390-20F625C7072C}"/>
                </a:ext>
              </a:extLst>
            </p:cNvPr>
            <p:cNvSpPr txBox="1"/>
            <p:nvPr/>
          </p:nvSpPr>
          <p:spPr>
            <a:xfrm>
              <a:off x="499717" y="3566439"/>
              <a:ext cx="776046" cy="276999"/>
            </a:xfrm>
            <a:prstGeom prst="rect">
              <a:avLst/>
            </a:prstGeom>
            <a:noFill/>
          </p:spPr>
          <p:txBody>
            <a:bodyPr wrap="none" rtlCol="0">
              <a:spAutoFit/>
            </a:bodyPr>
            <a:lstStyle/>
            <a:p>
              <a:pPr algn="l"/>
              <a:r>
                <a:rPr lang="en-AU" sz="1200" b="1" dirty="0">
                  <a:solidFill>
                    <a:schemeClr val="bg1"/>
                  </a:solidFill>
                  <a:latin typeface="Arial Nova" panose="020B0504020202020204" pitchFamily="34" charset="0"/>
                  <a:ea typeface="Tahoma" panose="020B0604030504040204" pitchFamily="34" charset="0"/>
                  <a:cs typeface="Tahoma" panose="020B0604030504040204" pitchFamily="34" charset="0"/>
                </a:rPr>
                <a:t>VMware</a:t>
              </a:r>
              <a:endParaRPr lang="en-AU" sz="1100" b="1" baseline="50000" dirty="0">
                <a:solidFill>
                  <a:schemeClr val="bg1"/>
                </a:solidFill>
                <a:latin typeface="Arial Nova" panose="020B0504020202020204" pitchFamily="34" charset="0"/>
                <a:ea typeface="Tahoma" panose="020B0604030504040204" pitchFamily="34" charset="0"/>
                <a:cs typeface="Tahoma" panose="020B0604030504040204" pitchFamily="34" charset="0"/>
              </a:endParaRPr>
            </a:p>
          </p:txBody>
        </p:sp>
        <p:cxnSp>
          <p:nvCxnSpPr>
            <p:cNvPr id="68" name="Straight Arrow Connector 67">
              <a:extLst>
                <a:ext uri="{FF2B5EF4-FFF2-40B4-BE49-F238E27FC236}">
                  <a16:creationId xmlns:a16="http://schemas.microsoft.com/office/drawing/2014/main" id="{A50A717F-F203-413C-9619-6999F9194F2B}"/>
                </a:ext>
              </a:extLst>
            </p:cNvPr>
            <p:cNvCxnSpPr>
              <a:cxnSpLocks/>
              <a:stCxn id="66" idx="13"/>
            </p:cNvCxnSpPr>
            <p:nvPr/>
          </p:nvCxnSpPr>
          <p:spPr>
            <a:xfrm>
              <a:off x="1436378" y="3912704"/>
              <a:ext cx="453843" cy="138462"/>
            </a:xfrm>
            <a:prstGeom prst="straightConnector1">
              <a:avLst/>
            </a:prstGeom>
            <a:ln w="12700">
              <a:solidFill>
                <a:schemeClr val="tx1"/>
              </a:solidFill>
              <a:headEnd type="triangle" w="med" len="lg"/>
              <a:tailEnd type="triangle" w="med" len="lg"/>
            </a:ln>
          </p:spPr>
          <p:style>
            <a:lnRef idx="1">
              <a:schemeClr val="dk1"/>
            </a:lnRef>
            <a:fillRef idx="0">
              <a:schemeClr val="dk1"/>
            </a:fillRef>
            <a:effectRef idx="0">
              <a:schemeClr val="dk1"/>
            </a:effectRef>
            <a:fontRef idx="minor">
              <a:schemeClr val="tx1"/>
            </a:fontRef>
          </p:style>
        </p:cxnSp>
        <p:pic>
          <p:nvPicPr>
            <p:cNvPr id="69" name="Picture 68">
              <a:extLst>
                <a:ext uri="{FF2B5EF4-FFF2-40B4-BE49-F238E27FC236}">
                  <a16:creationId xmlns:a16="http://schemas.microsoft.com/office/drawing/2014/main" id="{CDC58489-05AA-4380-BF5E-AD3B4B0D0D8F}"/>
                </a:ext>
              </a:extLst>
            </p:cNvPr>
            <p:cNvPicPr>
              <a:picLocks noChangeAspect="1"/>
            </p:cNvPicPr>
            <p:nvPr/>
          </p:nvPicPr>
          <p:blipFill>
            <a:blip r:embed="rId9"/>
            <a:stretch>
              <a:fillRect/>
            </a:stretch>
          </p:blipFill>
          <p:spPr>
            <a:xfrm>
              <a:off x="460267" y="3899753"/>
              <a:ext cx="156486" cy="142967"/>
            </a:xfrm>
            <a:prstGeom prst="rect">
              <a:avLst/>
            </a:prstGeom>
          </p:spPr>
        </p:pic>
        <p:pic>
          <p:nvPicPr>
            <p:cNvPr id="70" name="Picture 69">
              <a:extLst>
                <a:ext uri="{FF2B5EF4-FFF2-40B4-BE49-F238E27FC236}">
                  <a16:creationId xmlns:a16="http://schemas.microsoft.com/office/drawing/2014/main" id="{CCD56DDD-B3FD-4271-898D-D84A50332E04}"/>
                </a:ext>
              </a:extLst>
            </p:cNvPr>
            <p:cNvPicPr>
              <a:picLocks noChangeAspect="1"/>
            </p:cNvPicPr>
            <p:nvPr/>
          </p:nvPicPr>
          <p:blipFill>
            <a:blip r:embed="rId10"/>
            <a:stretch>
              <a:fillRect/>
            </a:stretch>
          </p:blipFill>
          <p:spPr>
            <a:xfrm>
              <a:off x="649753" y="3889287"/>
              <a:ext cx="548492" cy="173014"/>
            </a:xfrm>
            <a:prstGeom prst="rect">
              <a:avLst/>
            </a:prstGeom>
          </p:spPr>
        </p:pic>
        <p:grpSp>
          <p:nvGrpSpPr>
            <p:cNvPr id="71" name="Group 70">
              <a:extLst>
                <a:ext uri="{FF2B5EF4-FFF2-40B4-BE49-F238E27FC236}">
                  <a16:creationId xmlns:a16="http://schemas.microsoft.com/office/drawing/2014/main" id="{9151A326-8E5E-4010-9480-FA61CCDFFB07}"/>
                </a:ext>
              </a:extLst>
            </p:cNvPr>
            <p:cNvGrpSpPr/>
            <p:nvPr/>
          </p:nvGrpSpPr>
          <p:grpSpPr>
            <a:xfrm>
              <a:off x="4097772" y="1095178"/>
              <a:ext cx="4814732" cy="1707105"/>
              <a:chOff x="4097772" y="1095178"/>
              <a:chExt cx="4814732" cy="1707105"/>
            </a:xfrm>
          </p:grpSpPr>
          <p:sp>
            <p:nvSpPr>
              <p:cNvPr id="73" name="TextBox 72">
                <a:extLst>
                  <a:ext uri="{FF2B5EF4-FFF2-40B4-BE49-F238E27FC236}">
                    <a16:creationId xmlns:a16="http://schemas.microsoft.com/office/drawing/2014/main" id="{C06D05E3-22AB-4A35-B469-1CE9992D5B10}"/>
                  </a:ext>
                </a:extLst>
              </p:cNvPr>
              <p:cNvSpPr txBox="1"/>
              <p:nvPr/>
            </p:nvSpPr>
            <p:spPr>
              <a:xfrm>
                <a:off x="7077832" y="1095178"/>
                <a:ext cx="1834672" cy="246221"/>
              </a:xfrm>
              <a:prstGeom prst="rect">
                <a:avLst/>
              </a:prstGeom>
              <a:noFill/>
            </p:spPr>
            <p:txBody>
              <a:bodyPr wrap="square" rtlCol="0">
                <a:spAutoFit/>
              </a:bodyPr>
              <a:lstStyle/>
              <a:p>
                <a:pPr algn="l"/>
                <a:r>
                  <a:rPr lang="en-AU" sz="1000" b="1" dirty="0">
                    <a:solidFill>
                      <a:schemeClr val="bg1">
                        <a:lumMod val="50000"/>
                      </a:schemeClr>
                    </a:solidFill>
                  </a:rPr>
                  <a:t>Out of the box connectors</a:t>
                </a:r>
              </a:p>
            </p:txBody>
          </p:sp>
          <p:grpSp>
            <p:nvGrpSpPr>
              <p:cNvPr id="74" name="Group 73">
                <a:extLst>
                  <a:ext uri="{FF2B5EF4-FFF2-40B4-BE49-F238E27FC236}">
                    <a16:creationId xmlns:a16="http://schemas.microsoft.com/office/drawing/2014/main" id="{7CB16CCD-BE4C-43B9-B853-3C280753D7D7}"/>
                  </a:ext>
                </a:extLst>
              </p:cNvPr>
              <p:cNvGrpSpPr/>
              <p:nvPr/>
            </p:nvGrpSpPr>
            <p:grpSpPr>
              <a:xfrm>
                <a:off x="4097772" y="1341399"/>
                <a:ext cx="4319399" cy="1460884"/>
                <a:chOff x="4097772" y="1161091"/>
                <a:chExt cx="5873042" cy="1641192"/>
              </a:xfrm>
            </p:grpSpPr>
            <p:sp>
              <p:nvSpPr>
                <p:cNvPr id="75" name="Rectangle 74">
                  <a:extLst>
                    <a:ext uri="{FF2B5EF4-FFF2-40B4-BE49-F238E27FC236}">
                      <a16:creationId xmlns:a16="http://schemas.microsoft.com/office/drawing/2014/main" id="{1029748E-7A50-4442-A89B-718B604ACDED}"/>
                    </a:ext>
                  </a:extLst>
                </p:cNvPr>
                <p:cNvSpPr/>
                <p:nvPr/>
              </p:nvSpPr>
              <p:spPr>
                <a:xfrm>
                  <a:off x="8459488" y="1161091"/>
                  <a:ext cx="1511326" cy="16411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p:txBody>
            </p:sp>
            <p:pic>
              <p:nvPicPr>
                <p:cNvPr id="76" name="Picture 75">
                  <a:extLst>
                    <a:ext uri="{FF2B5EF4-FFF2-40B4-BE49-F238E27FC236}">
                      <a16:creationId xmlns:a16="http://schemas.microsoft.com/office/drawing/2014/main" id="{7E89ED98-8A44-4B77-9F12-A33EC0404971}"/>
                    </a:ext>
                  </a:extLst>
                </p:cNvPr>
                <p:cNvPicPr>
                  <a:picLocks noChangeAspect="1"/>
                </p:cNvPicPr>
                <p:nvPr/>
              </p:nvPicPr>
              <p:blipFill>
                <a:blip r:embed="rId11">
                  <a:duotone>
                    <a:prstClr val="black"/>
                    <a:schemeClr val="accent6">
                      <a:tint val="45000"/>
                      <a:satMod val="400000"/>
                    </a:schemeClr>
                  </a:duotone>
                </a:blip>
                <a:stretch>
                  <a:fillRect/>
                </a:stretch>
              </p:blipFill>
              <p:spPr>
                <a:xfrm>
                  <a:off x="8919544" y="1754300"/>
                  <a:ext cx="538705" cy="438640"/>
                </a:xfrm>
                <a:prstGeom prst="rect">
                  <a:avLst/>
                </a:prstGeom>
              </p:spPr>
            </p:pic>
            <p:pic>
              <p:nvPicPr>
                <p:cNvPr id="77" name="Picture 76">
                  <a:extLst>
                    <a:ext uri="{FF2B5EF4-FFF2-40B4-BE49-F238E27FC236}">
                      <a16:creationId xmlns:a16="http://schemas.microsoft.com/office/drawing/2014/main" id="{121DAA4D-4F10-4138-8FEA-D7C94BF59A33}"/>
                    </a:ext>
                  </a:extLst>
                </p:cNvPr>
                <p:cNvPicPr>
                  <a:picLocks noChangeAspect="1"/>
                </p:cNvPicPr>
                <p:nvPr/>
              </p:nvPicPr>
              <p:blipFill>
                <a:blip r:embed="rId12">
                  <a:duotone>
                    <a:prstClr val="black"/>
                    <a:schemeClr val="accent6">
                      <a:tint val="45000"/>
                      <a:satMod val="400000"/>
                    </a:schemeClr>
                  </a:duotone>
                </a:blip>
                <a:stretch>
                  <a:fillRect/>
                </a:stretch>
              </p:blipFill>
              <p:spPr>
                <a:xfrm>
                  <a:off x="8770114" y="2274400"/>
                  <a:ext cx="930457" cy="346719"/>
                </a:xfrm>
                <a:prstGeom prst="rect">
                  <a:avLst/>
                </a:prstGeom>
              </p:spPr>
            </p:pic>
            <p:pic>
              <p:nvPicPr>
                <p:cNvPr id="78" name="Picture 77">
                  <a:extLst>
                    <a:ext uri="{FF2B5EF4-FFF2-40B4-BE49-F238E27FC236}">
                      <a16:creationId xmlns:a16="http://schemas.microsoft.com/office/drawing/2014/main" id="{C518D48C-0E9A-4F89-9491-30820A007F0E}"/>
                    </a:ext>
                  </a:extLst>
                </p:cNvPr>
                <p:cNvPicPr>
                  <a:picLocks noChangeAspect="1"/>
                </p:cNvPicPr>
                <p:nvPr/>
              </p:nvPicPr>
              <p:blipFill>
                <a:blip r:embed="rId13">
                  <a:duotone>
                    <a:prstClr val="black"/>
                    <a:schemeClr val="accent6">
                      <a:tint val="45000"/>
                      <a:satMod val="400000"/>
                    </a:schemeClr>
                  </a:duotone>
                </a:blip>
                <a:stretch>
                  <a:fillRect/>
                </a:stretch>
              </p:blipFill>
              <p:spPr>
                <a:xfrm>
                  <a:off x="8940811" y="1401335"/>
                  <a:ext cx="501436" cy="299085"/>
                </a:xfrm>
                <a:prstGeom prst="rect">
                  <a:avLst/>
                </a:prstGeom>
              </p:spPr>
            </p:pic>
            <p:cxnSp>
              <p:nvCxnSpPr>
                <p:cNvPr id="79" name="Straight Arrow Connector 78">
                  <a:extLst>
                    <a:ext uri="{FF2B5EF4-FFF2-40B4-BE49-F238E27FC236}">
                      <a16:creationId xmlns:a16="http://schemas.microsoft.com/office/drawing/2014/main" id="{8D72235B-6BCF-4124-A972-3564090F7E8A}"/>
                    </a:ext>
                  </a:extLst>
                </p:cNvPr>
                <p:cNvCxnSpPr>
                  <a:cxnSpLocks/>
                </p:cNvCxnSpPr>
                <p:nvPr/>
              </p:nvCxnSpPr>
              <p:spPr>
                <a:xfrm flipH="1">
                  <a:off x="4097772" y="1201485"/>
                  <a:ext cx="4349639" cy="1097529"/>
                </a:xfrm>
                <a:prstGeom prst="straightConnector1">
                  <a:avLst/>
                </a:prstGeom>
                <a:ln w="22225"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grpSp>
        <p:pic>
          <p:nvPicPr>
            <p:cNvPr id="72" name="Picture 71">
              <a:extLst>
                <a:ext uri="{FF2B5EF4-FFF2-40B4-BE49-F238E27FC236}">
                  <a16:creationId xmlns:a16="http://schemas.microsoft.com/office/drawing/2014/main" id="{EDD562C8-4830-405B-B59C-0E5CB5BC6DE7}"/>
                </a:ext>
              </a:extLst>
            </p:cNvPr>
            <p:cNvPicPr>
              <a:picLocks noChangeAspect="1"/>
            </p:cNvPicPr>
            <p:nvPr/>
          </p:nvPicPr>
          <p:blipFill>
            <a:blip r:embed="rId10"/>
            <a:stretch>
              <a:fillRect/>
            </a:stretch>
          </p:blipFill>
          <p:spPr>
            <a:xfrm>
              <a:off x="1689887" y="2247592"/>
              <a:ext cx="548492" cy="173014"/>
            </a:xfrm>
            <a:prstGeom prst="rect">
              <a:avLst/>
            </a:prstGeom>
          </p:spPr>
        </p:pic>
      </p:grpSp>
      <p:sp>
        <p:nvSpPr>
          <p:cNvPr id="85" name="Title 1">
            <a:extLst>
              <a:ext uri="{FF2B5EF4-FFF2-40B4-BE49-F238E27FC236}">
                <a16:creationId xmlns:a16="http://schemas.microsoft.com/office/drawing/2014/main" id="{A8B24ABF-DB66-4E19-8551-226C0766494E}"/>
              </a:ext>
            </a:extLst>
          </p:cNvPr>
          <p:cNvSpPr txBox="1">
            <a:spLocks/>
          </p:cNvSpPr>
          <p:nvPr/>
        </p:nvSpPr>
        <p:spPr bwMode="gray">
          <a:xfrm>
            <a:off x="186095" y="347485"/>
            <a:ext cx="7297193" cy="338236"/>
          </a:xfrm>
          <a:prstGeom prst="rect">
            <a:avLst/>
          </a:prstGeom>
          <a:noFill/>
          <a:ln>
            <a:noFill/>
          </a:ln>
        </p:spPr>
        <p:txBody>
          <a:bodyPr vert="horz" lIns="68526" tIns="0" rIns="68526" bIns="0" rtlCol="0" anchor="b" anchorCtr="0">
            <a:noAutofit/>
          </a:bodyPr>
          <a:lstStyle>
            <a:lvl1pPr algn="l" defTabSz="457200" rtl="0" eaLnBrk="1" latinLnBrk="0" hangingPunct="1">
              <a:lnSpc>
                <a:spcPct val="85000"/>
              </a:lnSpc>
              <a:spcBef>
                <a:spcPts val="0"/>
              </a:spcBef>
              <a:buNone/>
              <a:defRPr lang="en-US" sz="3200" b="0" kern="1200" dirty="0" smtClean="0">
                <a:solidFill>
                  <a:schemeClr val="tx1"/>
                </a:solidFill>
                <a:latin typeface="+mj-lt"/>
                <a:ea typeface="+mj-ea"/>
                <a:cs typeface="+mj-cs"/>
              </a:defRPr>
            </a:lvl1p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3E40"/>
                </a:solidFill>
                <a:effectLst/>
                <a:uLnTx/>
                <a:uFillTx/>
                <a:latin typeface="Arial Nova Light"/>
                <a:ea typeface="MS PGothic" charset="0"/>
                <a:cs typeface="+mj-cs"/>
              </a:rPr>
              <a:t>What systems and services are needed </a:t>
            </a:r>
            <a:r>
              <a:rPr lang="en-US" sz="2400" b="1" dirty="0">
                <a:solidFill>
                  <a:srgbClr val="293E40"/>
                </a:solidFill>
                <a:latin typeface="Arial Nova Light"/>
                <a:ea typeface="MS PGothic" charset="0"/>
              </a:rPr>
              <a:t>in </a:t>
            </a:r>
            <a:r>
              <a:rPr kumimoji="0" lang="en-US" sz="2400" b="1" i="0" u="none" strike="noStrike" kern="1200" cap="none" spc="0" normalizeH="0" baseline="0" noProof="0" dirty="0">
                <a:ln>
                  <a:noFill/>
                </a:ln>
                <a:solidFill>
                  <a:srgbClr val="293E40"/>
                </a:solidFill>
                <a:effectLst/>
                <a:uLnTx/>
                <a:uFillTx/>
                <a:latin typeface="Arial Nova Light"/>
                <a:ea typeface="MS PGothic" charset="0"/>
                <a:cs typeface="+mj-cs"/>
              </a:rPr>
              <a:t>Production ?</a:t>
            </a:r>
          </a:p>
        </p:txBody>
      </p:sp>
    </p:spTree>
    <p:extLst>
      <p:ext uri="{BB962C8B-B14F-4D97-AF65-F5344CB8AC3E}">
        <p14:creationId xmlns:p14="http://schemas.microsoft.com/office/powerpoint/2010/main" val="10427026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Key Design Parameters</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2316" y="118927"/>
            <a:ext cx="788438" cy="788438"/>
          </a:xfrm>
          <a:prstGeom prst="rect">
            <a:avLst/>
          </a:prstGeom>
        </p:spPr>
      </p:pic>
      <p:graphicFrame>
        <p:nvGraphicFramePr>
          <p:cNvPr id="10" name="Table 9">
            <a:extLst>
              <a:ext uri="{FF2B5EF4-FFF2-40B4-BE49-F238E27FC236}">
                <a16:creationId xmlns:a16="http://schemas.microsoft.com/office/drawing/2014/main" id="{4EC8A8FD-730E-4638-8A08-E1562C763B53}"/>
              </a:ext>
            </a:extLst>
          </p:cNvPr>
          <p:cNvGraphicFramePr>
            <a:graphicFrameLocks noGrp="1"/>
          </p:cNvGraphicFramePr>
          <p:nvPr>
            <p:extLst>
              <p:ext uri="{D42A27DB-BD31-4B8C-83A1-F6EECF244321}">
                <p14:modId xmlns:p14="http://schemas.microsoft.com/office/powerpoint/2010/main" val="2155390932"/>
              </p:ext>
            </p:extLst>
          </p:nvPr>
        </p:nvGraphicFramePr>
        <p:xfrm>
          <a:off x="360976" y="1153066"/>
          <a:ext cx="6691088" cy="2723227"/>
        </p:xfrm>
        <a:graphic>
          <a:graphicData uri="http://schemas.openxmlformats.org/drawingml/2006/table">
            <a:tbl>
              <a:tblPr firstRow="1" bandRow="1">
                <a:tableStyleId>{5C22544A-7EE6-4342-B048-85BDC9FD1C3A}</a:tableStyleId>
              </a:tblPr>
              <a:tblGrid>
                <a:gridCol w="2437971">
                  <a:extLst>
                    <a:ext uri="{9D8B030D-6E8A-4147-A177-3AD203B41FA5}">
                      <a16:colId xmlns:a16="http://schemas.microsoft.com/office/drawing/2014/main" val="3663496937"/>
                    </a:ext>
                  </a:extLst>
                </a:gridCol>
                <a:gridCol w="4253117">
                  <a:extLst>
                    <a:ext uri="{9D8B030D-6E8A-4147-A177-3AD203B41FA5}">
                      <a16:colId xmlns:a16="http://schemas.microsoft.com/office/drawing/2014/main" val="2225255597"/>
                    </a:ext>
                  </a:extLst>
                </a:gridCol>
              </a:tblGrid>
              <a:tr h="275246">
                <a:tc>
                  <a:txBody>
                    <a:bodyPr/>
                    <a:lstStyle/>
                    <a:p>
                      <a:r>
                        <a:rPr lang="en-US" dirty="0"/>
                        <a:t>Parameter</a:t>
                      </a:r>
                      <a:endParaRPr lang="en-AU" dirty="0"/>
                    </a:p>
                  </a:txBody>
                  <a:tcPr/>
                </a:tc>
                <a:tc>
                  <a:txBody>
                    <a:bodyPr/>
                    <a:lstStyle/>
                    <a:p>
                      <a:r>
                        <a:rPr lang="en-US" dirty="0"/>
                        <a:t>Value</a:t>
                      </a:r>
                      <a:endParaRPr lang="en-AU" dirty="0"/>
                    </a:p>
                  </a:txBody>
                  <a:tcPr/>
                </a:tc>
                <a:extLst>
                  <a:ext uri="{0D108BD9-81ED-4DB2-BD59-A6C34878D82A}">
                    <a16:rowId xmlns:a16="http://schemas.microsoft.com/office/drawing/2014/main" val="3222065152"/>
                  </a:ext>
                </a:extLst>
              </a:tr>
              <a:tr h="275246">
                <a:tc>
                  <a:txBody>
                    <a:bodyPr/>
                    <a:lstStyle/>
                    <a:p>
                      <a:r>
                        <a:rPr lang="en-US" sz="1200" dirty="0"/>
                        <a:t>FNMS architecture</a:t>
                      </a:r>
                      <a:endParaRPr lang="en-AU" sz="1200" dirty="0"/>
                    </a:p>
                  </a:txBody>
                  <a:tcPr/>
                </a:tc>
                <a:tc>
                  <a:txBody>
                    <a:bodyPr/>
                    <a:lstStyle/>
                    <a:p>
                      <a:r>
                        <a:rPr lang="en-US" sz="1200" dirty="0"/>
                        <a:t>Cloud/on-prem</a:t>
                      </a:r>
                      <a:endParaRPr lang="en-AU" sz="1200" dirty="0"/>
                    </a:p>
                  </a:txBody>
                  <a:tcPr/>
                </a:tc>
                <a:extLst>
                  <a:ext uri="{0D108BD9-81ED-4DB2-BD59-A6C34878D82A}">
                    <a16:rowId xmlns:a16="http://schemas.microsoft.com/office/drawing/2014/main" val="928558670"/>
                  </a:ext>
                </a:extLst>
              </a:tr>
              <a:tr h="656355">
                <a:tc>
                  <a:txBody>
                    <a:bodyPr/>
                    <a:lstStyle/>
                    <a:p>
                      <a:r>
                        <a:rPr lang="en-US" sz="1200" dirty="0"/>
                        <a:t>Locations of devices</a:t>
                      </a:r>
                      <a:endParaRPr lang="en-AU" sz="1200" dirty="0"/>
                    </a:p>
                  </a:txBody>
                  <a:tcPr/>
                </a:tc>
                <a:tc>
                  <a:txBody>
                    <a:bodyPr/>
                    <a:lstStyle/>
                    <a:p>
                      <a:r>
                        <a:rPr lang="en-US" sz="1200" dirty="0"/>
                        <a:t>Intranet/Internet?</a:t>
                      </a:r>
                    </a:p>
                    <a:p>
                      <a:r>
                        <a:rPr lang="en-US" sz="1200" dirty="0"/>
                        <a:t>Data Centers?</a:t>
                      </a:r>
                    </a:p>
                    <a:p>
                      <a:r>
                        <a:rPr lang="en-US" sz="1200" dirty="0"/>
                        <a:t>Regions?</a:t>
                      </a:r>
                    </a:p>
                  </a:txBody>
                  <a:tcPr/>
                </a:tc>
                <a:extLst>
                  <a:ext uri="{0D108BD9-81ED-4DB2-BD59-A6C34878D82A}">
                    <a16:rowId xmlns:a16="http://schemas.microsoft.com/office/drawing/2014/main" val="2949299662"/>
                  </a:ext>
                </a:extLst>
              </a:tr>
              <a:tr h="275246">
                <a:tc>
                  <a:txBody>
                    <a:bodyPr/>
                    <a:lstStyle/>
                    <a:p>
                      <a:r>
                        <a:rPr lang="en-AU" sz="1200" dirty="0"/>
                        <a:t># operators using the system</a:t>
                      </a:r>
                    </a:p>
                  </a:txBody>
                  <a:tcPr/>
                </a:tc>
                <a:tc>
                  <a:txBody>
                    <a:bodyPr/>
                    <a:lstStyle/>
                    <a:p>
                      <a:endParaRPr lang="en-AU" sz="1200" dirty="0"/>
                    </a:p>
                  </a:txBody>
                  <a:tcPr/>
                </a:tc>
                <a:extLst>
                  <a:ext uri="{0D108BD9-81ED-4DB2-BD59-A6C34878D82A}">
                    <a16:rowId xmlns:a16="http://schemas.microsoft.com/office/drawing/2014/main" val="605103873"/>
                  </a:ext>
                </a:extLst>
              </a:tr>
              <a:tr h="275246">
                <a:tc>
                  <a:txBody>
                    <a:bodyPr/>
                    <a:lstStyle/>
                    <a:p>
                      <a:r>
                        <a:rPr lang="en-AU" sz="1200" dirty="0"/>
                        <a:t>Environments?</a:t>
                      </a:r>
                    </a:p>
                  </a:txBody>
                  <a:tcPr/>
                </a:tc>
                <a:tc>
                  <a:txBody>
                    <a:bodyPr/>
                    <a:lstStyle/>
                    <a:p>
                      <a:r>
                        <a:rPr lang="en-AU" sz="1200" dirty="0"/>
                        <a:t>Production</a:t>
                      </a:r>
                    </a:p>
                    <a:p>
                      <a:r>
                        <a:rPr lang="en-AU" sz="1200" dirty="0"/>
                        <a:t>UAT / Non-Prod / Test?</a:t>
                      </a:r>
                    </a:p>
                    <a:p>
                      <a:r>
                        <a:rPr lang="en-AU" sz="1200" dirty="0"/>
                        <a:t>Other?</a:t>
                      </a:r>
                    </a:p>
                  </a:txBody>
                  <a:tcPr/>
                </a:tc>
                <a:extLst>
                  <a:ext uri="{0D108BD9-81ED-4DB2-BD59-A6C34878D82A}">
                    <a16:rowId xmlns:a16="http://schemas.microsoft.com/office/drawing/2014/main" val="4174044655"/>
                  </a:ext>
                </a:extLst>
              </a:tr>
              <a:tr h="275246">
                <a:tc>
                  <a:txBody>
                    <a:bodyPr/>
                    <a:lstStyle/>
                    <a:p>
                      <a:r>
                        <a:rPr lang="en-US" sz="1300" dirty="0"/>
                        <a:t>Integrations</a:t>
                      </a:r>
                      <a:endParaRPr lang="en-AU" sz="1300" dirty="0"/>
                    </a:p>
                  </a:txBody>
                  <a:tcPr/>
                </a:tc>
                <a:tc>
                  <a:txBody>
                    <a:bodyPr/>
                    <a:lstStyle/>
                    <a:p>
                      <a:r>
                        <a:rPr lang="en-US" sz="1300" dirty="0"/>
                        <a:t>Software requests (e.g. App Portal)?</a:t>
                      </a:r>
                    </a:p>
                  </a:txBody>
                  <a:tcPr/>
                </a:tc>
                <a:extLst>
                  <a:ext uri="{0D108BD9-81ED-4DB2-BD59-A6C34878D82A}">
                    <a16:rowId xmlns:a16="http://schemas.microsoft.com/office/drawing/2014/main" val="1131052028"/>
                  </a:ext>
                </a:extLst>
              </a:tr>
              <a:tr h="275246">
                <a:tc>
                  <a:txBody>
                    <a:bodyPr/>
                    <a:lstStyle/>
                    <a:p>
                      <a:endParaRPr lang="en-AU" sz="1300" dirty="0"/>
                    </a:p>
                  </a:txBody>
                  <a:tcPr/>
                </a:tc>
                <a:tc>
                  <a:txBody>
                    <a:bodyPr/>
                    <a:lstStyle/>
                    <a:p>
                      <a:endParaRPr lang="en-US" sz="1300" dirty="0"/>
                    </a:p>
                  </a:txBody>
                  <a:tcPr/>
                </a:tc>
                <a:extLst>
                  <a:ext uri="{0D108BD9-81ED-4DB2-BD59-A6C34878D82A}">
                    <a16:rowId xmlns:a16="http://schemas.microsoft.com/office/drawing/2014/main" val="2588101047"/>
                  </a:ext>
                </a:extLst>
              </a:tr>
            </a:tbl>
          </a:graphicData>
        </a:graphic>
      </p:graphicFrame>
    </p:spTree>
    <p:extLst>
      <p:ext uri="{BB962C8B-B14F-4D97-AF65-F5344CB8AC3E}">
        <p14:creationId xmlns:p14="http://schemas.microsoft.com/office/powerpoint/2010/main" val="37283850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2604815" y="118927"/>
            <a:ext cx="3431096" cy="476147"/>
          </a:xfrm>
        </p:spPr>
        <p:txBody>
          <a:bodyPr/>
          <a:lstStyle/>
          <a:p>
            <a:pPr algn="l"/>
            <a:r>
              <a:rPr lang="en-GB" dirty="0"/>
              <a:t>Logical Architecture</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72316" y="118927"/>
            <a:ext cx="788438" cy="788438"/>
          </a:xfrm>
          <a:prstGeom prst="rect">
            <a:avLst/>
          </a:prstGeom>
        </p:spPr>
      </p:pic>
      <p:sp>
        <p:nvSpPr>
          <p:cNvPr id="12" name="Rectangle 11">
            <a:extLst>
              <a:ext uri="{FF2B5EF4-FFF2-40B4-BE49-F238E27FC236}">
                <a16:creationId xmlns:a16="http://schemas.microsoft.com/office/drawing/2014/main" id="{9F1DCA6C-B528-433C-81A1-E904716E67C6}"/>
              </a:ext>
            </a:extLst>
          </p:cNvPr>
          <p:cNvSpPr/>
          <p:nvPr/>
        </p:nvSpPr>
        <p:spPr>
          <a:xfrm>
            <a:off x="2694144" y="4647672"/>
            <a:ext cx="2254571" cy="300082"/>
          </a:xfrm>
          <a:prstGeom prst="rect">
            <a:avLst/>
          </a:prstGeom>
        </p:spPr>
        <p:txBody>
          <a:bodyPr wrap="square">
            <a:spAutoFit/>
          </a:bodyPr>
          <a:lstStyle/>
          <a:p>
            <a:r>
              <a:rPr lang="en-AU" dirty="0">
                <a:solidFill>
                  <a:srgbClr val="FF0000"/>
                </a:solidFill>
              </a:rPr>
              <a:t>Edit and add additional other types of external systems </a:t>
            </a:r>
          </a:p>
          <a:p>
            <a:r>
              <a:rPr lang="en-AU" dirty="0">
                <a:solidFill>
                  <a:srgbClr val="FF0000"/>
                </a:solidFill>
              </a:rPr>
              <a:t>if applicable (e.g. App Portal)</a:t>
            </a:r>
          </a:p>
        </p:txBody>
      </p:sp>
      <p:graphicFrame>
        <p:nvGraphicFramePr>
          <p:cNvPr id="14" name="Object 13">
            <a:extLst>
              <a:ext uri="{FF2B5EF4-FFF2-40B4-BE49-F238E27FC236}">
                <a16:creationId xmlns:a16="http://schemas.microsoft.com/office/drawing/2014/main" id="{E50D4238-1C41-496C-9838-D67980F76463}"/>
              </a:ext>
            </a:extLst>
          </p:cNvPr>
          <p:cNvGraphicFramePr>
            <a:graphicFrameLocks noChangeAspect="1"/>
          </p:cNvGraphicFramePr>
          <p:nvPr>
            <p:extLst>
              <p:ext uri="{D42A27DB-BD31-4B8C-83A1-F6EECF244321}">
                <p14:modId xmlns:p14="http://schemas.microsoft.com/office/powerpoint/2010/main" val="584527583"/>
              </p:ext>
            </p:extLst>
          </p:nvPr>
        </p:nvGraphicFramePr>
        <p:xfrm>
          <a:off x="1874000" y="768234"/>
          <a:ext cx="4509548" cy="3795472"/>
        </p:xfrm>
        <a:graphic>
          <a:graphicData uri="http://schemas.openxmlformats.org/presentationml/2006/ole">
            <mc:AlternateContent xmlns:mc="http://schemas.openxmlformats.org/markup-compatibility/2006">
              <mc:Choice xmlns:v="urn:schemas-microsoft-com:vml" Requires="v">
                <p:oleObj spid="_x0000_s7206" name="Visio" r:id="rId7" imgW="5534247" imgH="4657784" progId="Visio.Drawing.15">
                  <p:embed/>
                </p:oleObj>
              </mc:Choice>
              <mc:Fallback>
                <p:oleObj name="Visio" r:id="rId7" imgW="5534247" imgH="4657784" progId="Visio.Drawing.15">
                  <p:embed/>
                  <p:pic>
                    <p:nvPicPr>
                      <p:cNvPr id="0" name=""/>
                      <p:cNvPicPr/>
                      <p:nvPr/>
                    </p:nvPicPr>
                    <p:blipFill>
                      <a:blip r:embed="rId8"/>
                      <a:stretch>
                        <a:fillRect/>
                      </a:stretch>
                    </p:blipFill>
                    <p:spPr>
                      <a:xfrm>
                        <a:off x="1874000" y="768234"/>
                        <a:ext cx="4509548" cy="3795472"/>
                      </a:xfrm>
                      <a:prstGeom prst="rect">
                        <a:avLst/>
                      </a:prstGeom>
                    </p:spPr>
                  </p:pic>
                </p:oleObj>
              </mc:Fallback>
            </mc:AlternateContent>
          </a:graphicData>
        </a:graphic>
      </p:graphicFrame>
    </p:spTree>
    <p:extLst>
      <p:ext uri="{BB962C8B-B14F-4D97-AF65-F5344CB8AC3E}">
        <p14:creationId xmlns:p14="http://schemas.microsoft.com/office/powerpoint/2010/main" val="16714808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Device Numbers</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2316" y="118927"/>
            <a:ext cx="788438" cy="788438"/>
          </a:xfrm>
          <a:prstGeom prst="rect">
            <a:avLst/>
          </a:prstGeom>
        </p:spPr>
      </p:pic>
      <p:graphicFrame>
        <p:nvGraphicFramePr>
          <p:cNvPr id="10" name="Table 9">
            <a:extLst>
              <a:ext uri="{FF2B5EF4-FFF2-40B4-BE49-F238E27FC236}">
                <a16:creationId xmlns:a16="http://schemas.microsoft.com/office/drawing/2014/main" id="{E2528463-8555-4295-9FE3-50460D532B57}"/>
              </a:ext>
            </a:extLst>
          </p:cNvPr>
          <p:cNvGraphicFramePr>
            <a:graphicFrameLocks noGrp="1"/>
          </p:cNvGraphicFramePr>
          <p:nvPr>
            <p:extLst>
              <p:ext uri="{D42A27DB-BD31-4B8C-83A1-F6EECF244321}">
                <p14:modId xmlns:p14="http://schemas.microsoft.com/office/powerpoint/2010/main" val="3170550693"/>
              </p:ext>
            </p:extLst>
          </p:nvPr>
        </p:nvGraphicFramePr>
        <p:xfrm>
          <a:off x="360975" y="1351429"/>
          <a:ext cx="8071213" cy="1950597"/>
        </p:xfrm>
        <a:graphic>
          <a:graphicData uri="http://schemas.openxmlformats.org/drawingml/2006/table">
            <a:tbl>
              <a:tblPr firstRow="1" bandRow="1">
                <a:tableStyleId>{5C22544A-7EE6-4342-B048-85BDC9FD1C3A}</a:tableStyleId>
              </a:tblPr>
              <a:tblGrid>
                <a:gridCol w="3127595">
                  <a:extLst>
                    <a:ext uri="{9D8B030D-6E8A-4147-A177-3AD203B41FA5}">
                      <a16:colId xmlns:a16="http://schemas.microsoft.com/office/drawing/2014/main" val="3663496937"/>
                    </a:ext>
                  </a:extLst>
                </a:gridCol>
                <a:gridCol w="4943618">
                  <a:extLst>
                    <a:ext uri="{9D8B030D-6E8A-4147-A177-3AD203B41FA5}">
                      <a16:colId xmlns:a16="http://schemas.microsoft.com/office/drawing/2014/main" val="2225255597"/>
                    </a:ext>
                  </a:extLst>
                </a:gridCol>
              </a:tblGrid>
              <a:tr h="416859">
                <a:tc>
                  <a:txBody>
                    <a:bodyPr/>
                    <a:lstStyle/>
                    <a:p>
                      <a:r>
                        <a:rPr lang="en-US" dirty="0"/>
                        <a:t>Item</a:t>
                      </a:r>
                      <a:endParaRPr lang="en-AU" dirty="0"/>
                    </a:p>
                  </a:txBody>
                  <a:tcPr/>
                </a:tc>
                <a:tc>
                  <a:txBody>
                    <a:bodyPr/>
                    <a:lstStyle/>
                    <a:p>
                      <a:r>
                        <a:rPr lang="en-US" dirty="0"/>
                        <a:t>Value</a:t>
                      </a:r>
                      <a:endParaRPr lang="en-AU" dirty="0"/>
                    </a:p>
                  </a:txBody>
                  <a:tcPr/>
                </a:tc>
                <a:extLst>
                  <a:ext uri="{0D108BD9-81ED-4DB2-BD59-A6C34878D82A}">
                    <a16:rowId xmlns:a16="http://schemas.microsoft.com/office/drawing/2014/main" val="3222065152"/>
                  </a:ext>
                </a:extLst>
              </a:tr>
              <a:tr h="370840">
                <a:tc>
                  <a:txBody>
                    <a:bodyPr/>
                    <a:lstStyle/>
                    <a:p>
                      <a:r>
                        <a:rPr lang="en-US" sz="1300" dirty="0"/>
                        <a:t>Device O</a:t>
                      </a:r>
                      <a:r>
                        <a:rPr lang="en-AU" sz="1300" dirty="0"/>
                        <a:t>perating Systems</a:t>
                      </a:r>
                    </a:p>
                  </a:txBody>
                  <a:tcPr/>
                </a:tc>
                <a:tc>
                  <a:txBody>
                    <a:bodyPr/>
                    <a:lstStyle/>
                    <a:p>
                      <a:endParaRPr lang="en-AU" sz="1300" dirty="0"/>
                    </a:p>
                  </a:txBody>
                  <a:tcPr/>
                </a:tc>
                <a:extLst>
                  <a:ext uri="{0D108BD9-81ED-4DB2-BD59-A6C34878D82A}">
                    <a16:rowId xmlns:a16="http://schemas.microsoft.com/office/drawing/2014/main" val="928558670"/>
                  </a:ext>
                </a:extLst>
              </a:tr>
              <a:tr h="396029">
                <a:tc>
                  <a:txBody>
                    <a:bodyPr/>
                    <a:lstStyle/>
                    <a:p>
                      <a:r>
                        <a:rPr lang="en-US" sz="1300" dirty="0"/>
                        <a:t>Include Desktops</a:t>
                      </a:r>
                      <a:endParaRPr lang="en-AU" sz="1300" dirty="0"/>
                    </a:p>
                  </a:txBody>
                  <a:tcPr/>
                </a:tc>
                <a:tc>
                  <a:txBody>
                    <a:bodyPr/>
                    <a:lstStyle/>
                    <a:p>
                      <a:endParaRPr lang="en-AU" sz="1300" dirty="0"/>
                    </a:p>
                  </a:txBody>
                  <a:tcPr/>
                </a:tc>
                <a:extLst>
                  <a:ext uri="{0D108BD9-81ED-4DB2-BD59-A6C34878D82A}">
                    <a16:rowId xmlns:a16="http://schemas.microsoft.com/office/drawing/2014/main" val="2949299662"/>
                  </a:ext>
                </a:extLst>
              </a:tr>
              <a:tr h="396029">
                <a:tc>
                  <a:txBody>
                    <a:bodyPr/>
                    <a:lstStyle/>
                    <a:p>
                      <a:r>
                        <a:rPr lang="en-AU" sz="1300" dirty="0"/>
                        <a:t>Include Servers</a:t>
                      </a:r>
                    </a:p>
                  </a:txBody>
                  <a:tcPr/>
                </a:tc>
                <a:tc>
                  <a:txBody>
                    <a:bodyPr/>
                    <a:lstStyle/>
                    <a:p>
                      <a:endParaRPr lang="en-AU" sz="1300" dirty="0"/>
                    </a:p>
                  </a:txBody>
                  <a:tcPr/>
                </a:tc>
                <a:extLst>
                  <a:ext uri="{0D108BD9-81ED-4DB2-BD59-A6C34878D82A}">
                    <a16:rowId xmlns:a16="http://schemas.microsoft.com/office/drawing/2014/main" val="605103873"/>
                  </a:ext>
                </a:extLst>
              </a:tr>
              <a:tr h="370840">
                <a:tc>
                  <a:txBody>
                    <a:bodyPr/>
                    <a:lstStyle/>
                    <a:p>
                      <a:endParaRPr lang="en-AU" sz="1300" dirty="0"/>
                    </a:p>
                  </a:txBody>
                  <a:tcPr/>
                </a:tc>
                <a:tc>
                  <a:txBody>
                    <a:bodyPr/>
                    <a:lstStyle/>
                    <a:p>
                      <a:endParaRPr lang="en-AU" sz="1300" dirty="0"/>
                    </a:p>
                  </a:txBody>
                  <a:tcPr/>
                </a:tc>
                <a:extLst>
                  <a:ext uri="{0D108BD9-81ED-4DB2-BD59-A6C34878D82A}">
                    <a16:rowId xmlns:a16="http://schemas.microsoft.com/office/drawing/2014/main" val="1320898393"/>
                  </a:ext>
                </a:extLst>
              </a:tr>
            </a:tbl>
          </a:graphicData>
        </a:graphic>
      </p:graphicFrame>
    </p:spTree>
    <p:extLst>
      <p:ext uri="{BB962C8B-B14F-4D97-AF65-F5344CB8AC3E}">
        <p14:creationId xmlns:p14="http://schemas.microsoft.com/office/powerpoint/2010/main" val="18331725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9" name="object 299"/>
          <p:cNvSpPr/>
          <p:nvPr/>
        </p:nvSpPr>
        <p:spPr>
          <a:xfrm>
            <a:off x="-94488" y="30480"/>
            <a:ext cx="9144000" cy="5143500"/>
          </a:xfrm>
          <a:custGeom>
            <a:avLst/>
            <a:gdLst/>
            <a:ahLst/>
            <a:cxnLst/>
            <a:rect l="l" t="t" r="r" b="b"/>
            <a:pathLst>
              <a:path w="9144000" h="5143500">
                <a:moveTo>
                  <a:pt x="0" y="5143500"/>
                </a:moveTo>
                <a:lnTo>
                  <a:pt x="0" y="0"/>
                </a:lnTo>
                <a:lnTo>
                  <a:pt x="9144000" y="0"/>
                </a:lnTo>
                <a:lnTo>
                  <a:pt x="9144000" y="5143500"/>
                </a:lnTo>
                <a:lnTo>
                  <a:pt x="0" y="5143500"/>
                </a:lnTo>
                <a:close/>
              </a:path>
            </a:pathLst>
          </a:custGeom>
          <a:solidFill>
            <a:srgbClr val="FFFFFF"/>
          </a:solidFill>
        </p:spPr>
        <p:txBody>
          <a:bodyPr wrap="square" lIns="0" tIns="0" rIns="0" bIns="0" rtlCol="0">
            <a:noAutofit/>
          </a:bodyPr>
          <a:lstStyle/>
          <a:p>
            <a:endParaRPr/>
          </a:p>
        </p:txBody>
      </p:sp>
      <p:pic>
        <p:nvPicPr>
          <p:cNvPr id="372"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83652" y="4728972"/>
            <a:ext cx="1165860" cy="384048"/>
          </a:xfrm>
          <a:prstGeom prst="rect">
            <a:avLst/>
          </a:prstGeom>
        </p:spPr>
      </p:pic>
      <p:sp>
        <p:nvSpPr>
          <p:cNvPr id="2" name="text 1"/>
          <p:cNvSpPr txBox="1"/>
          <p:nvPr/>
        </p:nvSpPr>
        <p:spPr>
          <a:xfrm>
            <a:off x="324534" y="326681"/>
            <a:ext cx="1895712" cy="430887"/>
          </a:xfrm>
          <a:prstGeom prst="rect">
            <a:avLst/>
          </a:prstGeom>
        </p:spPr>
        <p:txBody>
          <a:bodyPr vert="horz" wrap="none" lIns="0" tIns="0" rIns="0" bIns="0" rtlCol="0">
            <a:spAutoFit/>
          </a:bodyPr>
          <a:lstStyle/>
          <a:p>
            <a:pPr marL="0">
              <a:lnSpc>
                <a:spcPct val="100000"/>
              </a:lnSpc>
            </a:pPr>
            <a:r>
              <a:rPr lang="en-AU" sz="2800" spc="10" dirty="0">
                <a:solidFill>
                  <a:srgbClr val="FF0000"/>
                </a:solidFill>
                <a:latin typeface="Arial"/>
                <a:cs typeface="Arial"/>
              </a:rPr>
              <a:t>Introduction</a:t>
            </a:r>
            <a:endParaRPr sz="2800" dirty="0">
              <a:solidFill>
                <a:srgbClr val="FF0000"/>
              </a:solidFill>
              <a:latin typeface="Arial"/>
              <a:cs typeface="Arial"/>
            </a:endParaRPr>
          </a:p>
        </p:txBody>
      </p:sp>
      <p:pic>
        <p:nvPicPr>
          <p:cNvPr id="13" name="Picture Placeholder 1">
            <a:extLst>
              <a:ext uri="{FF2B5EF4-FFF2-40B4-BE49-F238E27FC236}">
                <a16:creationId xmlns:a16="http://schemas.microsoft.com/office/drawing/2014/main" id="{A0C27657-6DE8-4D36-9F0C-433D83BB467B}"/>
              </a:ext>
            </a:extLst>
          </p:cNvPr>
          <p:cNvPicPr>
            <a:picLocks noChangeAspect="1"/>
          </p:cNvPicPr>
          <p:nvPr/>
        </p:nvPicPr>
        <p:blipFill>
          <a:blip r:embed="rId4"/>
          <a:srcRect t="12448" b="12448"/>
          <a:stretch>
            <a:fillRect/>
          </a:stretch>
        </p:blipFill>
        <p:spPr>
          <a:xfrm>
            <a:off x="4568282" y="0"/>
            <a:ext cx="4572000" cy="5143500"/>
          </a:xfrm>
          <a:prstGeom prst="rect">
            <a:avLst/>
          </a:prstGeom>
        </p:spPr>
      </p:pic>
      <p:sp>
        <p:nvSpPr>
          <p:cNvPr id="12" name="text 1">
            <a:extLst>
              <a:ext uri="{FF2B5EF4-FFF2-40B4-BE49-F238E27FC236}">
                <a16:creationId xmlns:a16="http://schemas.microsoft.com/office/drawing/2014/main" id="{ADA37389-3376-4D35-9132-A84CDD2C44F4}"/>
              </a:ext>
            </a:extLst>
          </p:cNvPr>
          <p:cNvSpPr txBox="1"/>
          <p:nvPr/>
        </p:nvSpPr>
        <p:spPr>
          <a:xfrm>
            <a:off x="490818" y="1612819"/>
            <a:ext cx="3625326" cy="907941"/>
          </a:xfrm>
          <a:prstGeom prst="rect">
            <a:avLst/>
          </a:prstGeom>
        </p:spPr>
        <p:txBody>
          <a:bodyPr vert="horz" wrap="square" lIns="0" tIns="0" rIns="0" bIns="0" rtlCol="0">
            <a:spAutoFit/>
          </a:bodyPr>
          <a:lstStyle/>
          <a:p>
            <a:pPr marL="342900" indent="-342900">
              <a:lnSpc>
                <a:spcPct val="100000"/>
              </a:lnSpc>
              <a:spcAft>
                <a:spcPts val="600"/>
              </a:spcAft>
              <a:buFont typeface="+mj-lt"/>
              <a:buAutoNum type="arabicPeriod"/>
            </a:pPr>
            <a:r>
              <a:rPr lang="en-US" sz="1800" spc="10" dirty="0">
                <a:solidFill>
                  <a:srgbClr val="094E5D"/>
                </a:solidFill>
                <a:latin typeface="Arial"/>
                <a:cs typeface="Arial"/>
              </a:rPr>
              <a:t>Workshop Welcome &amp; Objectives</a:t>
            </a:r>
          </a:p>
          <a:p>
            <a:pPr marL="342900" indent="-342900">
              <a:lnSpc>
                <a:spcPct val="100000"/>
              </a:lnSpc>
              <a:spcAft>
                <a:spcPts val="600"/>
              </a:spcAft>
              <a:buFont typeface="+mj-lt"/>
              <a:buAutoNum type="arabicPeriod"/>
            </a:pPr>
            <a:r>
              <a:rPr lang="en-US" sz="1800" spc="10" dirty="0">
                <a:solidFill>
                  <a:srgbClr val="094E5D"/>
                </a:solidFill>
                <a:latin typeface="Arial"/>
                <a:cs typeface="Arial"/>
              </a:rPr>
              <a:t>Stakeholders and Outcomes</a:t>
            </a:r>
          </a:p>
        </p:txBody>
      </p:sp>
      <p:pic>
        <p:nvPicPr>
          <p:cNvPr id="7" name="Picture Placeholder 9">
            <a:extLst>
              <a:ext uri="{FF2B5EF4-FFF2-40B4-BE49-F238E27FC236}">
                <a16:creationId xmlns:a16="http://schemas.microsoft.com/office/drawing/2014/main" id="{97D8A4ED-6FAB-49E4-AE33-ABC54456A9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92" r="192"/>
          <a:stretch>
            <a:fillRect/>
          </a:stretch>
        </p:blipFill>
        <p:spPr>
          <a:xfrm>
            <a:off x="130818" y="4317580"/>
            <a:ext cx="720000" cy="722711"/>
          </a:xfrm>
          <a:prstGeom prst="rect">
            <a:avLst/>
          </a:prstGeom>
        </p:spPr>
      </p:pic>
    </p:spTree>
    <p:extLst>
      <p:ext uri="{BB962C8B-B14F-4D97-AF65-F5344CB8AC3E}">
        <p14:creationId xmlns:p14="http://schemas.microsoft.com/office/powerpoint/2010/main" val="15111571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Environments</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2316" y="118927"/>
            <a:ext cx="788438" cy="788438"/>
          </a:xfrm>
          <a:prstGeom prst="rect">
            <a:avLst/>
          </a:prstGeom>
        </p:spPr>
      </p:pic>
      <p:graphicFrame>
        <p:nvGraphicFramePr>
          <p:cNvPr id="9" name="Table 8">
            <a:extLst>
              <a:ext uri="{FF2B5EF4-FFF2-40B4-BE49-F238E27FC236}">
                <a16:creationId xmlns:a16="http://schemas.microsoft.com/office/drawing/2014/main" id="{EBBE7917-FFC8-49F8-91D2-9B81FC505387}"/>
              </a:ext>
            </a:extLst>
          </p:cNvPr>
          <p:cNvGraphicFramePr>
            <a:graphicFrameLocks noGrp="1"/>
          </p:cNvGraphicFramePr>
          <p:nvPr>
            <p:extLst>
              <p:ext uri="{D42A27DB-BD31-4B8C-83A1-F6EECF244321}">
                <p14:modId xmlns:p14="http://schemas.microsoft.com/office/powerpoint/2010/main" val="3072335719"/>
              </p:ext>
            </p:extLst>
          </p:nvPr>
        </p:nvGraphicFramePr>
        <p:xfrm>
          <a:off x="480563" y="1264457"/>
          <a:ext cx="7338942" cy="2225040"/>
        </p:xfrm>
        <a:graphic>
          <a:graphicData uri="http://schemas.openxmlformats.org/drawingml/2006/table">
            <a:tbl>
              <a:tblPr firstRow="1" bandRow="1">
                <a:tableStyleId>{5C22544A-7EE6-4342-B048-85BDC9FD1C3A}</a:tableStyleId>
              </a:tblPr>
              <a:tblGrid>
                <a:gridCol w="2215573">
                  <a:extLst>
                    <a:ext uri="{9D8B030D-6E8A-4147-A177-3AD203B41FA5}">
                      <a16:colId xmlns:a16="http://schemas.microsoft.com/office/drawing/2014/main" val="2751842210"/>
                    </a:ext>
                  </a:extLst>
                </a:gridCol>
                <a:gridCol w="5123369">
                  <a:extLst>
                    <a:ext uri="{9D8B030D-6E8A-4147-A177-3AD203B41FA5}">
                      <a16:colId xmlns:a16="http://schemas.microsoft.com/office/drawing/2014/main" val="3471960622"/>
                    </a:ext>
                  </a:extLst>
                </a:gridCol>
              </a:tblGrid>
              <a:tr h="370840">
                <a:tc>
                  <a:txBody>
                    <a:bodyPr/>
                    <a:lstStyle/>
                    <a:p>
                      <a:r>
                        <a:rPr lang="en-US" dirty="0"/>
                        <a:t>Environment Name</a:t>
                      </a:r>
                      <a:endParaRPr lang="en-AU" dirty="0"/>
                    </a:p>
                  </a:txBody>
                  <a:tcPr/>
                </a:tc>
                <a:tc>
                  <a:txBody>
                    <a:bodyPr/>
                    <a:lstStyle/>
                    <a:p>
                      <a:r>
                        <a:rPr lang="en-US" dirty="0"/>
                        <a:t>Purpose</a:t>
                      </a:r>
                      <a:endParaRPr lang="en-AU" dirty="0"/>
                    </a:p>
                  </a:txBody>
                  <a:tcPr/>
                </a:tc>
                <a:extLst>
                  <a:ext uri="{0D108BD9-81ED-4DB2-BD59-A6C34878D82A}">
                    <a16:rowId xmlns:a16="http://schemas.microsoft.com/office/drawing/2014/main" val="2263223921"/>
                  </a:ext>
                </a:extLst>
              </a:tr>
              <a:tr h="370840">
                <a:tc>
                  <a:txBody>
                    <a:bodyPr/>
                    <a:lstStyle/>
                    <a:p>
                      <a:r>
                        <a:rPr lang="en-US" dirty="0"/>
                        <a:t>Production</a:t>
                      </a:r>
                      <a:endParaRPr lang="en-AU" dirty="0"/>
                    </a:p>
                  </a:txBody>
                  <a:tcPr/>
                </a:tc>
                <a:tc>
                  <a:txBody>
                    <a:bodyPr/>
                    <a:lstStyle/>
                    <a:p>
                      <a:endParaRPr lang="en-AU" dirty="0"/>
                    </a:p>
                  </a:txBody>
                  <a:tcPr/>
                </a:tc>
                <a:extLst>
                  <a:ext uri="{0D108BD9-81ED-4DB2-BD59-A6C34878D82A}">
                    <a16:rowId xmlns:a16="http://schemas.microsoft.com/office/drawing/2014/main" val="1481721098"/>
                  </a:ext>
                </a:extLst>
              </a:tr>
              <a:tr h="370840">
                <a:tc>
                  <a:txBody>
                    <a:bodyPr/>
                    <a:lstStyle/>
                    <a:p>
                      <a:r>
                        <a:rPr lang="en-US" dirty="0"/>
                        <a:t>User Acceptance Testing</a:t>
                      </a:r>
                      <a:endParaRPr lang="en-AU" dirty="0"/>
                    </a:p>
                  </a:txBody>
                  <a:tcPr/>
                </a:tc>
                <a:tc>
                  <a:txBody>
                    <a:bodyPr/>
                    <a:lstStyle/>
                    <a:p>
                      <a:endParaRPr lang="en-AU" dirty="0"/>
                    </a:p>
                  </a:txBody>
                  <a:tcPr/>
                </a:tc>
                <a:extLst>
                  <a:ext uri="{0D108BD9-81ED-4DB2-BD59-A6C34878D82A}">
                    <a16:rowId xmlns:a16="http://schemas.microsoft.com/office/drawing/2014/main" val="2500480391"/>
                  </a:ext>
                </a:extLst>
              </a:tr>
              <a:tr h="370840">
                <a:tc>
                  <a:txBody>
                    <a:bodyPr/>
                    <a:lstStyle/>
                    <a:p>
                      <a:r>
                        <a:rPr lang="en-US" dirty="0"/>
                        <a:t>Other?</a:t>
                      </a:r>
                      <a:endParaRPr lang="en-AU" dirty="0"/>
                    </a:p>
                  </a:txBody>
                  <a:tcPr/>
                </a:tc>
                <a:tc>
                  <a:txBody>
                    <a:bodyPr/>
                    <a:lstStyle/>
                    <a:p>
                      <a:endParaRPr lang="en-AU" dirty="0"/>
                    </a:p>
                  </a:txBody>
                  <a:tcPr/>
                </a:tc>
                <a:extLst>
                  <a:ext uri="{0D108BD9-81ED-4DB2-BD59-A6C34878D82A}">
                    <a16:rowId xmlns:a16="http://schemas.microsoft.com/office/drawing/2014/main" val="1301639204"/>
                  </a:ext>
                </a:extLst>
              </a:tr>
              <a:tr h="370840">
                <a:tc>
                  <a:txBody>
                    <a:bodyPr/>
                    <a:lstStyle/>
                    <a:p>
                      <a:endParaRPr lang="en-AU" dirty="0"/>
                    </a:p>
                  </a:txBody>
                  <a:tcPr/>
                </a:tc>
                <a:tc>
                  <a:txBody>
                    <a:bodyPr/>
                    <a:lstStyle/>
                    <a:p>
                      <a:endParaRPr lang="en-AU"/>
                    </a:p>
                  </a:txBody>
                  <a:tcPr/>
                </a:tc>
                <a:extLst>
                  <a:ext uri="{0D108BD9-81ED-4DB2-BD59-A6C34878D82A}">
                    <a16:rowId xmlns:a16="http://schemas.microsoft.com/office/drawing/2014/main" val="1920775591"/>
                  </a:ext>
                </a:extLst>
              </a:tr>
              <a:tr h="370840">
                <a:tc>
                  <a:txBody>
                    <a:bodyPr/>
                    <a:lstStyle/>
                    <a:p>
                      <a:endParaRPr lang="en-AU"/>
                    </a:p>
                  </a:txBody>
                  <a:tcPr/>
                </a:tc>
                <a:tc>
                  <a:txBody>
                    <a:bodyPr/>
                    <a:lstStyle/>
                    <a:p>
                      <a:endParaRPr lang="en-AU" dirty="0"/>
                    </a:p>
                  </a:txBody>
                  <a:tcPr/>
                </a:tc>
                <a:extLst>
                  <a:ext uri="{0D108BD9-81ED-4DB2-BD59-A6C34878D82A}">
                    <a16:rowId xmlns:a16="http://schemas.microsoft.com/office/drawing/2014/main" val="1612889569"/>
                  </a:ext>
                </a:extLst>
              </a:tr>
            </a:tbl>
          </a:graphicData>
        </a:graphic>
      </p:graphicFrame>
    </p:spTree>
    <p:extLst>
      <p:ext uri="{BB962C8B-B14F-4D97-AF65-F5344CB8AC3E}">
        <p14:creationId xmlns:p14="http://schemas.microsoft.com/office/powerpoint/2010/main" val="1383056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Inventory Data Sources (1)</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72316" y="118927"/>
            <a:ext cx="788438" cy="788438"/>
          </a:xfrm>
          <a:prstGeom prst="rect">
            <a:avLst/>
          </a:prstGeom>
        </p:spPr>
      </p:pic>
      <p:graphicFrame>
        <p:nvGraphicFramePr>
          <p:cNvPr id="9" name="Table 8">
            <a:extLst>
              <a:ext uri="{FF2B5EF4-FFF2-40B4-BE49-F238E27FC236}">
                <a16:creationId xmlns:a16="http://schemas.microsoft.com/office/drawing/2014/main" id="{7F94025F-54AF-4B16-B7EB-0DC0FEC7DFA7}"/>
              </a:ext>
            </a:extLst>
          </p:cNvPr>
          <p:cNvGraphicFramePr>
            <a:graphicFrameLocks noGrp="1"/>
          </p:cNvGraphicFramePr>
          <p:nvPr>
            <p:extLst>
              <p:ext uri="{D42A27DB-BD31-4B8C-83A1-F6EECF244321}">
                <p14:modId xmlns:p14="http://schemas.microsoft.com/office/powerpoint/2010/main" val="2541868315"/>
              </p:ext>
            </p:extLst>
          </p:nvPr>
        </p:nvGraphicFramePr>
        <p:xfrm>
          <a:off x="304800" y="1176619"/>
          <a:ext cx="8474816" cy="3062318"/>
        </p:xfrm>
        <a:graphic>
          <a:graphicData uri="http://schemas.openxmlformats.org/drawingml/2006/table">
            <a:tbl>
              <a:tblPr firstRow="1">
                <a:tableStyleId>{5C22544A-7EE6-4342-B048-85BDC9FD1C3A}</a:tableStyleId>
              </a:tblPr>
              <a:tblGrid>
                <a:gridCol w="2465294">
                  <a:extLst>
                    <a:ext uri="{9D8B030D-6E8A-4147-A177-3AD203B41FA5}">
                      <a16:colId xmlns:a16="http://schemas.microsoft.com/office/drawing/2014/main" val="862147473"/>
                    </a:ext>
                  </a:extLst>
                </a:gridCol>
                <a:gridCol w="685800">
                  <a:extLst>
                    <a:ext uri="{9D8B030D-6E8A-4147-A177-3AD203B41FA5}">
                      <a16:colId xmlns:a16="http://schemas.microsoft.com/office/drawing/2014/main" val="506864144"/>
                    </a:ext>
                  </a:extLst>
                </a:gridCol>
                <a:gridCol w="2333065">
                  <a:extLst>
                    <a:ext uri="{9D8B030D-6E8A-4147-A177-3AD203B41FA5}">
                      <a16:colId xmlns:a16="http://schemas.microsoft.com/office/drawing/2014/main" val="803677418"/>
                    </a:ext>
                  </a:extLst>
                </a:gridCol>
                <a:gridCol w="2990657">
                  <a:extLst>
                    <a:ext uri="{9D8B030D-6E8A-4147-A177-3AD203B41FA5}">
                      <a16:colId xmlns:a16="http://schemas.microsoft.com/office/drawing/2014/main" val="3211252884"/>
                    </a:ext>
                  </a:extLst>
                </a:gridCol>
              </a:tblGrid>
              <a:tr h="275663">
                <a:tc>
                  <a:txBody>
                    <a:bodyPr/>
                    <a:lstStyle/>
                    <a:p>
                      <a:pPr algn="l">
                        <a:lnSpc>
                          <a:spcPct val="100000"/>
                        </a:lnSpc>
                        <a:spcBef>
                          <a:spcPts val="200"/>
                        </a:spcBef>
                        <a:spcAft>
                          <a:spcPts val="600"/>
                        </a:spcAft>
                      </a:pPr>
                      <a:r>
                        <a:rPr lang="en-US" sz="1000" dirty="0">
                          <a:effectLst/>
                          <a:latin typeface="+mn-lt"/>
                        </a:rPr>
                        <a:t>Environment / Technology / Application</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200"/>
                        </a:spcBef>
                        <a:spcAft>
                          <a:spcPts val="600"/>
                        </a:spcAft>
                      </a:pPr>
                      <a:r>
                        <a:rPr lang="en-US" sz="1000" dirty="0">
                          <a:effectLst/>
                          <a:latin typeface="+mn-lt"/>
                        </a:rPr>
                        <a:t>Required?</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200"/>
                        </a:spcBef>
                        <a:spcAft>
                          <a:spcPts val="600"/>
                        </a:spcAft>
                      </a:pPr>
                      <a:r>
                        <a:rPr lang="en-US" sz="1000" dirty="0">
                          <a:effectLst/>
                          <a:latin typeface="+mn-lt"/>
                        </a:rPr>
                        <a:t>Technology/</a:t>
                      </a:r>
                      <a:r>
                        <a:rPr lang="en-US" sz="1000" dirty="0" err="1">
                          <a:effectLst/>
                          <a:latin typeface="+mn-lt"/>
                        </a:rPr>
                        <a:t>ies</a:t>
                      </a:r>
                      <a:r>
                        <a:rPr lang="en-US" sz="1000" dirty="0">
                          <a:effectLst/>
                          <a:latin typeface="+mn-lt"/>
                        </a:rPr>
                        <a:t> used to gather inventory</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200"/>
                        </a:spcBef>
                        <a:spcAft>
                          <a:spcPts val="600"/>
                        </a:spcAft>
                      </a:pPr>
                      <a:r>
                        <a:rPr lang="en-US" sz="1000" dirty="0">
                          <a:effectLst/>
                          <a:latin typeface="+mn-lt"/>
                        </a:rPr>
                        <a:t>Notes</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2383356703"/>
                  </a:ext>
                </a:extLst>
              </a:tr>
              <a:tr h="399500">
                <a:tc>
                  <a:txBody>
                    <a:bodyPr/>
                    <a:lstStyle/>
                    <a:p>
                      <a:pPr algn="l">
                        <a:lnSpc>
                          <a:spcPct val="100000"/>
                        </a:lnSpc>
                        <a:spcBef>
                          <a:spcPts val="0"/>
                        </a:spcBef>
                        <a:spcAft>
                          <a:spcPts val="200"/>
                        </a:spcAft>
                      </a:pPr>
                      <a:r>
                        <a:rPr lang="en-US" sz="1000" dirty="0">
                          <a:effectLst/>
                          <a:latin typeface="+mn-lt"/>
                        </a:rPr>
                        <a:t>General hardware &amp; software inventory on end-user computers running Microsoft Windows</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r>
                        <a:rPr lang="en-US" sz="1000" dirty="0">
                          <a:effectLst/>
                          <a:latin typeface="+mn-lt"/>
                        </a:rPr>
                        <a:t>FNMS Agent, Others?</a:t>
                      </a:r>
                    </a:p>
                  </a:txBody>
                  <a:tcPr marL="33166" marR="33166" marT="0" marB="0"/>
                </a:tc>
                <a:tc>
                  <a:txBody>
                    <a:bodyPr/>
                    <a:lstStyle/>
                    <a:p>
                      <a:pPr algn="l">
                        <a:lnSpc>
                          <a:spcPct val="100000"/>
                        </a:lnSpc>
                        <a:spcBef>
                          <a:spcPts val="0"/>
                        </a:spcBef>
                        <a:spcAft>
                          <a:spcPts val="200"/>
                        </a:spcAft>
                      </a:pPr>
                      <a:r>
                        <a:rPr lang="en-US" sz="1000" dirty="0">
                          <a:effectLst/>
                          <a:latin typeface="+mn-lt"/>
                        </a:rPr>
                        <a:t> </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3518873316"/>
                  </a:ext>
                </a:extLst>
              </a:tr>
              <a:tr h="354211">
                <a:tc>
                  <a:txBody>
                    <a:bodyPr/>
                    <a:lstStyle/>
                    <a:p>
                      <a:pPr algn="l">
                        <a:lnSpc>
                          <a:spcPct val="100000"/>
                        </a:lnSpc>
                        <a:spcBef>
                          <a:spcPts val="0"/>
                        </a:spcBef>
                        <a:spcAft>
                          <a:spcPts val="200"/>
                        </a:spcAft>
                      </a:pPr>
                      <a:r>
                        <a:rPr lang="en-US" sz="1000" dirty="0">
                          <a:effectLst/>
                          <a:latin typeface="+mn-lt"/>
                        </a:rPr>
                        <a:t>General hardware &amp; software inventory on servers &amp; computers running Microsoft Windows</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r>
                        <a:rPr lang="en-US" sz="1000" dirty="0">
                          <a:effectLst/>
                          <a:latin typeface="+mn-lt"/>
                        </a:rPr>
                        <a:t>FNMS Agent, Others?</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r>
                        <a:rPr lang="en-US" sz="1000">
                          <a:effectLst/>
                          <a:latin typeface="+mn-lt"/>
                        </a:rPr>
                        <a:t> </a:t>
                      </a:r>
                      <a:endParaRPr lang="en-AU" sz="100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1867523439"/>
                  </a:ext>
                </a:extLst>
              </a:tr>
              <a:tr h="354211">
                <a:tc>
                  <a:txBody>
                    <a:bodyPr/>
                    <a:lstStyle/>
                    <a:p>
                      <a:pPr algn="l">
                        <a:lnSpc>
                          <a:spcPct val="100000"/>
                        </a:lnSpc>
                        <a:spcBef>
                          <a:spcPts val="0"/>
                        </a:spcBef>
                        <a:spcAft>
                          <a:spcPts val="200"/>
                        </a:spcAft>
                      </a:pPr>
                      <a:r>
                        <a:rPr lang="en-US" sz="1000" dirty="0">
                          <a:effectLst/>
                          <a:latin typeface="+mn-lt"/>
                        </a:rPr>
                        <a:t>General hardware &amp; software inventory on servers running UNIX-like operating systems</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r>
                        <a:rPr lang="en-US" sz="1000" dirty="0">
                          <a:effectLst/>
                          <a:latin typeface="+mn-lt"/>
                        </a:rPr>
                        <a:t>FNMS Agent, Others?</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r>
                        <a:rPr lang="en-US" sz="1000">
                          <a:effectLst/>
                          <a:latin typeface="+mn-lt"/>
                        </a:rPr>
                        <a:t> </a:t>
                      </a:r>
                      <a:endParaRPr lang="en-AU" sz="100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3089415114"/>
                  </a:ext>
                </a:extLst>
              </a:tr>
              <a:tr h="354211">
                <a:tc>
                  <a:txBody>
                    <a:bodyPr/>
                    <a:lstStyle/>
                    <a:p>
                      <a:pPr algn="l">
                        <a:lnSpc>
                          <a:spcPct val="100000"/>
                        </a:lnSpc>
                        <a:spcBef>
                          <a:spcPts val="0"/>
                        </a:spcBef>
                        <a:spcAft>
                          <a:spcPts val="200"/>
                        </a:spcAft>
                      </a:pPr>
                      <a:r>
                        <a:rPr lang="en-US" sz="1000">
                          <a:effectLst/>
                          <a:latin typeface="+mn-lt"/>
                        </a:rPr>
                        <a:t>General hardware &amp; software inventory on servers running OS X</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lang="en-US" sz="1000" dirty="0">
                          <a:effectLst/>
                          <a:latin typeface="+mn-lt"/>
                        </a:rPr>
                        <a:t> FNMS Agent, Others?</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3589099414"/>
                  </a:ext>
                </a:extLst>
              </a:tr>
              <a:tr h="173086">
                <a:tc>
                  <a:txBody>
                    <a:bodyPr/>
                    <a:lstStyle/>
                    <a:p>
                      <a:pPr algn="l">
                        <a:lnSpc>
                          <a:spcPct val="100000"/>
                        </a:lnSpc>
                        <a:spcBef>
                          <a:spcPts val="0"/>
                        </a:spcBef>
                        <a:spcAft>
                          <a:spcPts val="200"/>
                        </a:spcAft>
                      </a:pPr>
                      <a:r>
                        <a:rPr lang="en-US" sz="1000">
                          <a:effectLst/>
                          <a:latin typeface="+mn-lt"/>
                        </a:rPr>
                        <a:t>Citrix XenApp</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r>
                        <a:rPr lang="en-US" sz="1000" dirty="0">
                          <a:effectLst/>
                          <a:latin typeface="+mn-lt"/>
                        </a:rPr>
                        <a:t>FNMS XenApp server agent</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3023122861"/>
                  </a:ext>
                </a:extLst>
              </a:tr>
              <a:tr h="354211">
                <a:tc>
                  <a:txBody>
                    <a:bodyPr/>
                    <a:lstStyle/>
                    <a:p>
                      <a:pPr algn="l">
                        <a:lnSpc>
                          <a:spcPct val="100000"/>
                        </a:lnSpc>
                        <a:spcBef>
                          <a:spcPts val="0"/>
                        </a:spcBef>
                        <a:spcAft>
                          <a:spcPts val="200"/>
                        </a:spcAft>
                      </a:pPr>
                      <a:r>
                        <a:rPr lang="en-US" sz="1000">
                          <a:effectLst/>
                          <a:latin typeface="+mn-lt"/>
                        </a:rPr>
                        <a:t>Citrix XenDesktop</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r>
                        <a:rPr lang="en-US" sz="1000" dirty="0">
                          <a:effectLst/>
                          <a:latin typeface="+mn-lt"/>
                        </a:rPr>
                        <a:t>FNMS Xen Desktop discovery &amp; inventory functionality</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3823674892"/>
                  </a:ext>
                </a:extLst>
              </a:tr>
              <a:tr h="187375">
                <a:tc>
                  <a:txBody>
                    <a:bodyPr/>
                    <a:lstStyle/>
                    <a:p>
                      <a:pPr algn="l">
                        <a:lnSpc>
                          <a:spcPct val="100000"/>
                        </a:lnSpc>
                        <a:spcBef>
                          <a:spcPts val="0"/>
                        </a:spcBef>
                        <a:spcAft>
                          <a:spcPts val="200"/>
                        </a:spcAft>
                      </a:pPr>
                      <a:r>
                        <a:rPr lang="en-US" sz="1000">
                          <a:effectLst/>
                          <a:latin typeface="+mn-lt"/>
                        </a:rPr>
                        <a:t>Microsoft Application Virtualization (App-V)</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r>
                        <a:rPr lang="en-US" sz="1000" dirty="0">
                          <a:effectLst/>
                          <a:latin typeface="+mn-lt"/>
                        </a:rPr>
                        <a:t>FNMS adapter for Microsoft App-V</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2188560891"/>
                  </a:ext>
                </a:extLst>
              </a:tr>
              <a:tr h="173086">
                <a:tc>
                  <a:txBody>
                    <a:bodyPr/>
                    <a:lstStyle/>
                    <a:p>
                      <a:pPr algn="l">
                        <a:lnSpc>
                          <a:spcPct val="100000"/>
                        </a:lnSpc>
                        <a:spcBef>
                          <a:spcPts val="0"/>
                        </a:spcBef>
                        <a:spcAft>
                          <a:spcPts val="200"/>
                        </a:spcAft>
                      </a:pPr>
                      <a:r>
                        <a:rPr lang="en-US" sz="1000">
                          <a:effectLst/>
                          <a:latin typeface="+mn-lt"/>
                        </a:rPr>
                        <a:t>Microsoft Office 365</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r>
                        <a:rPr lang="en-US" sz="1000">
                          <a:effectLst/>
                          <a:latin typeface="+mn-lt"/>
                        </a:rPr>
                        <a:t>FNMS adapter for Microsoft Office 365</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r>
                        <a:rPr lang="en-US" sz="1000" dirty="0">
                          <a:effectLst/>
                          <a:latin typeface="+mn-lt"/>
                        </a:rPr>
                        <a:t> </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818604182"/>
                  </a:ext>
                </a:extLst>
              </a:tr>
              <a:tr h="173086">
                <a:tc>
                  <a:txBody>
                    <a:bodyPr/>
                    <a:lstStyle/>
                    <a:p>
                      <a:pPr algn="l">
                        <a:lnSpc>
                          <a:spcPct val="100000"/>
                        </a:lnSpc>
                        <a:spcBef>
                          <a:spcPts val="0"/>
                        </a:spcBef>
                        <a:spcAft>
                          <a:spcPts val="200"/>
                        </a:spcAft>
                      </a:pPr>
                      <a:r>
                        <a:rPr lang="en-US" sz="1000" dirty="0">
                          <a:effectLst/>
                          <a:latin typeface="+mn-lt"/>
                        </a:rPr>
                        <a:t>Microsoft Client Access Licenses (CALs)</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r>
                        <a:rPr lang="en-US" sz="1000" dirty="0">
                          <a:effectLst/>
                          <a:latin typeface="+mn-lt"/>
                        </a:rPr>
                        <a:t>FlexNet inventory agent</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r>
                        <a:rPr lang="en-US" sz="1000" dirty="0">
                          <a:effectLst/>
                          <a:latin typeface="+mn-lt"/>
                        </a:rPr>
                        <a:t> </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2544145529"/>
                  </a:ext>
                </a:extLst>
              </a:tr>
            </a:tbl>
          </a:graphicData>
        </a:graphic>
      </p:graphicFrame>
    </p:spTree>
    <p:extLst>
      <p:ext uri="{BB962C8B-B14F-4D97-AF65-F5344CB8AC3E}">
        <p14:creationId xmlns:p14="http://schemas.microsoft.com/office/powerpoint/2010/main" val="25444560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Inventory Data Sources (2)</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72316" y="118927"/>
            <a:ext cx="788438" cy="788438"/>
          </a:xfrm>
          <a:prstGeom prst="rect">
            <a:avLst/>
          </a:prstGeom>
        </p:spPr>
      </p:pic>
      <p:graphicFrame>
        <p:nvGraphicFramePr>
          <p:cNvPr id="9" name="Table 8">
            <a:extLst>
              <a:ext uri="{FF2B5EF4-FFF2-40B4-BE49-F238E27FC236}">
                <a16:creationId xmlns:a16="http://schemas.microsoft.com/office/drawing/2014/main" id="{7F94025F-54AF-4B16-B7EB-0DC0FEC7DFA7}"/>
              </a:ext>
            </a:extLst>
          </p:cNvPr>
          <p:cNvGraphicFramePr>
            <a:graphicFrameLocks noGrp="1"/>
          </p:cNvGraphicFramePr>
          <p:nvPr>
            <p:extLst>
              <p:ext uri="{D42A27DB-BD31-4B8C-83A1-F6EECF244321}">
                <p14:modId xmlns:p14="http://schemas.microsoft.com/office/powerpoint/2010/main" val="2434007648"/>
              </p:ext>
            </p:extLst>
          </p:nvPr>
        </p:nvGraphicFramePr>
        <p:xfrm>
          <a:off x="304800" y="1176619"/>
          <a:ext cx="8474816" cy="2333324"/>
        </p:xfrm>
        <a:graphic>
          <a:graphicData uri="http://schemas.openxmlformats.org/drawingml/2006/table">
            <a:tbl>
              <a:tblPr firstRow="1">
                <a:tableStyleId>{5C22544A-7EE6-4342-B048-85BDC9FD1C3A}</a:tableStyleId>
              </a:tblPr>
              <a:tblGrid>
                <a:gridCol w="2330824">
                  <a:extLst>
                    <a:ext uri="{9D8B030D-6E8A-4147-A177-3AD203B41FA5}">
                      <a16:colId xmlns:a16="http://schemas.microsoft.com/office/drawing/2014/main" val="862147473"/>
                    </a:ext>
                  </a:extLst>
                </a:gridCol>
                <a:gridCol w="726141">
                  <a:extLst>
                    <a:ext uri="{9D8B030D-6E8A-4147-A177-3AD203B41FA5}">
                      <a16:colId xmlns:a16="http://schemas.microsoft.com/office/drawing/2014/main" val="506864144"/>
                    </a:ext>
                  </a:extLst>
                </a:gridCol>
                <a:gridCol w="2353235">
                  <a:extLst>
                    <a:ext uri="{9D8B030D-6E8A-4147-A177-3AD203B41FA5}">
                      <a16:colId xmlns:a16="http://schemas.microsoft.com/office/drawing/2014/main" val="803677418"/>
                    </a:ext>
                  </a:extLst>
                </a:gridCol>
                <a:gridCol w="3064616">
                  <a:extLst>
                    <a:ext uri="{9D8B030D-6E8A-4147-A177-3AD203B41FA5}">
                      <a16:colId xmlns:a16="http://schemas.microsoft.com/office/drawing/2014/main" val="3211252884"/>
                    </a:ext>
                  </a:extLst>
                </a:gridCol>
              </a:tblGrid>
              <a:tr h="248769">
                <a:tc>
                  <a:txBody>
                    <a:bodyPr/>
                    <a:lstStyle/>
                    <a:p>
                      <a:pPr>
                        <a:lnSpc>
                          <a:spcPct val="107000"/>
                        </a:lnSpc>
                        <a:spcBef>
                          <a:spcPts val="600"/>
                        </a:spcBef>
                        <a:spcAft>
                          <a:spcPts val="600"/>
                        </a:spcAft>
                      </a:pPr>
                      <a:r>
                        <a:rPr lang="en-US" sz="1000" dirty="0">
                          <a:effectLst/>
                          <a:latin typeface="+mn-lt"/>
                        </a:rPr>
                        <a:t>Environment / Technology / Application</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7000"/>
                        </a:lnSpc>
                        <a:spcBef>
                          <a:spcPts val="600"/>
                        </a:spcBef>
                        <a:spcAft>
                          <a:spcPts val="600"/>
                        </a:spcAft>
                      </a:pPr>
                      <a:r>
                        <a:rPr lang="en-US" sz="1000">
                          <a:effectLst/>
                          <a:latin typeface="+mn-lt"/>
                        </a:rPr>
                        <a:t>Required?</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7000"/>
                        </a:lnSpc>
                        <a:spcBef>
                          <a:spcPts val="600"/>
                        </a:spcBef>
                        <a:spcAft>
                          <a:spcPts val="600"/>
                        </a:spcAft>
                      </a:pPr>
                      <a:r>
                        <a:rPr lang="en-US" sz="1000" dirty="0">
                          <a:effectLst/>
                          <a:latin typeface="+mn-lt"/>
                        </a:rPr>
                        <a:t>Technology/</a:t>
                      </a:r>
                      <a:r>
                        <a:rPr lang="en-US" sz="1000" dirty="0" err="1">
                          <a:effectLst/>
                          <a:latin typeface="+mn-lt"/>
                        </a:rPr>
                        <a:t>ies</a:t>
                      </a:r>
                      <a:r>
                        <a:rPr lang="en-US" sz="1000" dirty="0">
                          <a:effectLst/>
                          <a:latin typeface="+mn-lt"/>
                        </a:rPr>
                        <a:t> used to gather inventory</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7000"/>
                        </a:lnSpc>
                        <a:spcBef>
                          <a:spcPts val="600"/>
                        </a:spcBef>
                        <a:spcAft>
                          <a:spcPts val="600"/>
                        </a:spcAft>
                      </a:pPr>
                      <a:r>
                        <a:rPr lang="en-US" sz="1000">
                          <a:effectLst/>
                          <a:latin typeface="+mn-lt"/>
                        </a:rPr>
                        <a:t>Notes</a:t>
                      </a:r>
                      <a:endParaRPr lang="en-AU" sz="100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2383356703"/>
                  </a:ext>
                </a:extLst>
              </a:tr>
              <a:tr h="173086">
                <a:tc>
                  <a:txBody>
                    <a:bodyPr/>
                    <a:lstStyle/>
                    <a:p>
                      <a:pPr>
                        <a:lnSpc>
                          <a:spcPct val="100000"/>
                        </a:lnSpc>
                        <a:spcBef>
                          <a:spcPts val="200"/>
                        </a:spcBef>
                        <a:spcAft>
                          <a:spcPts val="600"/>
                        </a:spcAft>
                      </a:pPr>
                      <a:r>
                        <a:rPr lang="en-US" sz="1000">
                          <a:effectLst/>
                          <a:latin typeface="+mn-lt"/>
                        </a:rPr>
                        <a:t>Oracle Database</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r>
                        <a:rPr lang="en-US" sz="1000">
                          <a:effectLst/>
                          <a:latin typeface="+mn-lt"/>
                        </a:rPr>
                        <a:t>FlexNet inventory agent</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r>
                        <a:rPr lang="en-US" sz="1000" dirty="0">
                          <a:effectLst/>
                          <a:latin typeface="+mn-lt"/>
                        </a:rPr>
                        <a:t> </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4058662267"/>
                  </a:ext>
                </a:extLst>
              </a:tr>
              <a:tr h="354211">
                <a:tc>
                  <a:txBody>
                    <a:bodyPr/>
                    <a:lstStyle/>
                    <a:p>
                      <a:pPr>
                        <a:lnSpc>
                          <a:spcPct val="100000"/>
                        </a:lnSpc>
                        <a:spcBef>
                          <a:spcPts val="200"/>
                        </a:spcBef>
                        <a:spcAft>
                          <a:spcPts val="600"/>
                        </a:spcAft>
                      </a:pPr>
                      <a:r>
                        <a:rPr lang="en-US" sz="1000">
                          <a:effectLst/>
                          <a:latin typeface="+mn-lt"/>
                        </a:rPr>
                        <a:t>VMware vSphere vCenter or ESX/ESXi</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r>
                        <a:rPr lang="en-US" sz="1000">
                          <a:effectLst/>
                          <a:latin typeface="+mn-lt"/>
                        </a:rPr>
                        <a:t>FNMS Vmware infrastructure discovery &amp; inventory functionality</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1904672335"/>
                  </a:ext>
                </a:extLst>
              </a:tr>
              <a:tr h="173086">
                <a:tc>
                  <a:txBody>
                    <a:bodyPr/>
                    <a:lstStyle/>
                    <a:p>
                      <a:pPr>
                        <a:lnSpc>
                          <a:spcPct val="100000"/>
                        </a:lnSpc>
                        <a:spcBef>
                          <a:spcPts val="200"/>
                        </a:spcBef>
                        <a:spcAft>
                          <a:spcPts val="600"/>
                        </a:spcAft>
                      </a:pPr>
                      <a:r>
                        <a:rPr lang="en-US" sz="1000">
                          <a:effectLst/>
                          <a:latin typeface="+mn-lt"/>
                        </a:rPr>
                        <a:t>Microsoft Hyper-V</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r>
                        <a:rPr lang="en-US" sz="1000">
                          <a:effectLst/>
                          <a:latin typeface="+mn-lt"/>
                        </a:rPr>
                        <a:t>FlexNet inventory agent</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r>
                        <a:rPr lang="en-US" sz="1000" dirty="0">
                          <a:effectLst/>
                          <a:latin typeface="+mn-lt"/>
                        </a:rPr>
                        <a:t> </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1624470644"/>
                  </a:ext>
                </a:extLst>
              </a:tr>
              <a:tr h="354211">
                <a:tc>
                  <a:txBody>
                    <a:bodyPr/>
                    <a:lstStyle/>
                    <a:p>
                      <a:pPr>
                        <a:lnSpc>
                          <a:spcPct val="100000"/>
                        </a:lnSpc>
                        <a:spcBef>
                          <a:spcPts val="200"/>
                        </a:spcBef>
                        <a:spcAft>
                          <a:spcPts val="600"/>
                        </a:spcAft>
                      </a:pPr>
                      <a:r>
                        <a:rPr lang="en-US" sz="1000" dirty="0">
                          <a:effectLst/>
                          <a:latin typeface="+mn-lt"/>
                        </a:rPr>
                        <a:t>Oracle VM Server for x86</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r>
                        <a:rPr lang="en-US" sz="1000" dirty="0">
                          <a:effectLst/>
                          <a:latin typeface="+mn-lt"/>
                        </a:rPr>
                        <a:t>FNMS Oracle VM discovery &amp; inventory functionality</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2354406327"/>
                  </a:ext>
                </a:extLst>
              </a:tr>
              <a:tr h="283181">
                <a:tc>
                  <a:txBody>
                    <a:bodyPr/>
                    <a:lstStyle/>
                    <a:p>
                      <a:pPr>
                        <a:lnSpc>
                          <a:spcPct val="100000"/>
                        </a:lnSpc>
                        <a:spcBef>
                          <a:spcPts val="200"/>
                        </a:spcBef>
                        <a:spcAft>
                          <a:spcPts val="600"/>
                        </a:spcAft>
                      </a:pPr>
                      <a:r>
                        <a:rPr lang="en-US" sz="1000" dirty="0">
                          <a:effectLst/>
                          <a:latin typeface="+mn-lt"/>
                        </a:rPr>
                        <a:t>Unix partitioning: LPARs, Zones, </a:t>
                      </a:r>
                      <a:r>
                        <a:rPr lang="en-US" sz="1000" dirty="0" err="1">
                          <a:effectLst/>
                          <a:latin typeface="+mn-lt"/>
                        </a:rPr>
                        <a:t>nPars</a:t>
                      </a:r>
                      <a:r>
                        <a:rPr lang="en-US" sz="1000" dirty="0">
                          <a:effectLst/>
                          <a:latin typeface="+mn-lt"/>
                        </a:rPr>
                        <a:t>/</a:t>
                      </a:r>
                      <a:r>
                        <a:rPr lang="en-US" sz="1000" dirty="0" err="1">
                          <a:effectLst/>
                          <a:latin typeface="+mn-lt"/>
                        </a:rPr>
                        <a:t>vPars</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r>
                        <a:rPr lang="en-US" sz="1000" dirty="0">
                          <a:effectLst/>
                          <a:latin typeface="+mn-lt"/>
                        </a:rPr>
                        <a:t>FlexNet inventory agent</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2608136700"/>
                  </a:ext>
                </a:extLst>
              </a:tr>
              <a:tr h="173086">
                <a:tc>
                  <a:txBody>
                    <a:bodyPr/>
                    <a:lstStyle/>
                    <a:p>
                      <a:pPr>
                        <a:lnSpc>
                          <a:spcPct val="100000"/>
                        </a:lnSpc>
                        <a:spcBef>
                          <a:spcPts val="200"/>
                        </a:spcBef>
                        <a:spcAft>
                          <a:spcPts val="600"/>
                        </a:spcAft>
                      </a:pPr>
                      <a:r>
                        <a:rPr lang="en-US" sz="1000">
                          <a:effectLst/>
                          <a:latin typeface="+mn-lt"/>
                        </a:rPr>
                        <a:t>Microsoft SQL Server</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r>
                        <a:rPr lang="en-US" sz="1000">
                          <a:effectLst/>
                          <a:latin typeface="+mn-lt"/>
                        </a:rPr>
                        <a:t>FlexNet inventory agent</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r>
                        <a:rPr lang="en-US" sz="1000" dirty="0">
                          <a:effectLst/>
                          <a:latin typeface="+mn-lt"/>
                        </a:rPr>
                        <a:t> </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2711913053"/>
                  </a:ext>
                </a:extLst>
              </a:tr>
              <a:tr h="173086">
                <a:tc>
                  <a:txBody>
                    <a:bodyPr/>
                    <a:lstStyle/>
                    <a:p>
                      <a:pPr>
                        <a:lnSpc>
                          <a:spcPct val="100000"/>
                        </a:lnSpc>
                        <a:spcBef>
                          <a:spcPts val="200"/>
                        </a:spcBef>
                        <a:spcAft>
                          <a:spcPts val="600"/>
                        </a:spcAft>
                      </a:pPr>
                      <a:r>
                        <a:rPr lang="en-US" sz="1000">
                          <a:effectLst/>
                          <a:latin typeface="+mn-lt"/>
                        </a:rPr>
                        <a:t>Microsoft Exchange Server</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r>
                        <a:rPr lang="en-US" sz="1000">
                          <a:effectLst/>
                          <a:latin typeface="+mn-lt"/>
                        </a:rPr>
                        <a:t>FlexNet inventory agent</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r>
                        <a:rPr lang="en-US" sz="1000" dirty="0">
                          <a:effectLst/>
                          <a:latin typeface="+mn-lt"/>
                        </a:rPr>
                        <a:t> </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1267624508"/>
                  </a:ext>
                </a:extLst>
              </a:tr>
              <a:tr h="378989">
                <a:tc>
                  <a:txBody>
                    <a:bodyPr/>
                    <a:lstStyle/>
                    <a:p>
                      <a:pPr>
                        <a:lnSpc>
                          <a:spcPct val="100000"/>
                        </a:lnSpc>
                        <a:spcBef>
                          <a:spcPts val="200"/>
                        </a:spcBef>
                        <a:spcAft>
                          <a:spcPts val="600"/>
                        </a:spcAft>
                      </a:pPr>
                      <a:r>
                        <a:rPr lang="en-US" sz="1000">
                          <a:effectLst/>
                          <a:latin typeface="+mn-lt"/>
                        </a:rPr>
                        <a:t>IBM WebSphere MQ Queue Manager state via dspmq</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r>
                        <a:rPr lang="en-US" sz="1000">
                          <a:effectLst/>
                          <a:latin typeface="+mn-lt"/>
                        </a:rPr>
                        <a:t>FlexNet inventory agent</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1472919671"/>
                  </a:ext>
                </a:extLst>
              </a:tr>
            </a:tbl>
          </a:graphicData>
        </a:graphic>
      </p:graphicFrame>
    </p:spTree>
    <p:extLst>
      <p:ext uri="{BB962C8B-B14F-4D97-AF65-F5344CB8AC3E}">
        <p14:creationId xmlns:p14="http://schemas.microsoft.com/office/powerpoint/2010/main" val="10928516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Business Data Sources</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2316" y="118927"/>
            <a:ext cx="788438" cy="788438"/>
          </a:xfrm>
          <a:prstGeom prst="rect">
            <a:avLst/>
          </a:prstGeom>
        </p:spPr>
      </p:pic>
      <p:graphicFrame>
        <p:nvGraphicFramePr>
          <p:cNvPr id="9" name="Table 8">
            <a:extLst>
              <a:ext uri="{FF2B5EF4-FFF2-40B4-BE49-F238E27FC236}">
                <a16:creationId xmlns:a16="http://schemas.microsoft.com/office/drawing/2014/main" id="{0CDDC414-5D75-4EAD-B3BD-6F8DC246FCC2}"/>
              </a:ext>
            </a:extLst>
          </p:cNvPr>
          <p:cNvGraphicFramePr>
            <a:graphicFrameLocks noGrp="1"/>
          </p:cNvGraphicFramePr>
          <p:nvPr>
            <p:extLst>
              <p:ext uri="{D42A27DB-BD31-4B8C-83A1-F6EECF244321}">
                <p14:modId xmlns:p14="http://schemas.microsoft.com/office/powerpoint/2010/main" val="164185140"/>
              </p:ext>
            </p:extLst>
          </p:nvPr>
        </p:nvGraphicFramePr>
        <p:xfrm>
          <a:off x="453629" y="1141819"/>
          <a:ext cx="7338941" cy="3120702"/>
        </p:xfrm>
        <a:graphic>
          <a:graphicData uri="http://schemas.openxmlformats.org/drawingml/2006/table">
            <a:tbl>
              <a:tblPr firstRow="1" bandRow="1">
                <a:tableStyleId>{B301B821-A1FF-4177-AEE7-76D212191A09}</a:tableStyleId>
              </a:tblPr>
              <a:tblGrid>
                <a:gridCol w="1808816">
                  <a:extLst>
                    <a:ext uri="{9D8B030D-6E8A-4147-A177-3AD203B41FA5}">
                      <a16:colId xmlns:a16="http://schemas.microsoft.com/office/drawing/2014/main" val="4046154919"/>
                    </a:ext>
                  </a:extLst>
                </a:gridCol>
                <a:gridCol w="2083612">
                  <a:extLst>
                    <a:ext uri="{9D8B030D-6E8A-4147-A177-3AD203B41FA5}">
                      <a16:colId xmlns:a16="http://schemas.microsoft.com/office/drawing/2014/main" val="3816838957"/>
                    </a:ext>
                  </a:extLst>
                </a:gridCol>
                <a:gridCol w="3446513">
                  <a:extLst>
                    <a:ext uri="{9D8B030D-6E8A-4147-A177-3AD203B41FA5}">
                      <a16:colId xmlns:a16="http://schemas.microsoft.com/office/drawing/2014/main" val="3275363668"/>
                    </a:ext>
                  </a:extLst>
                </a:gridCol>
              </a:tblGrid>
              <a:tr h="272238">
                <a:tc>
                  <a:txBody>
                    <a:bodyPr/>
                    <a:lstStyle/>
                    <a:p>
                      <a:pPr>
                        <a:spcBef>
                          <a:spcPts val="200"/>
                        </a:spcBef>
                        <a:spcAft>
                          <a:spcPts val="200"/>
                        </a:spcAft>
                      </a:pPr>
                      <a:r>
                        <a:rPr lang="en-US" sz="1200" dirty="0"/>
                        <a:t>Data related to …</a:t>
                      </a:r>
                      <a:endParaRPr lang="en-AU" sz="1200" dirty="0"/>
                    </a:p>
                  </a:txBody>
                  <a:tcPr/>
                </a:tc>
                <a:tc>
                  <a:txBody>
                    <a:bodyPr/>
                    <a:lstStyle/>
                    <a:p>
                      <a:pPr>
                        <a:spcBef>
                          <a:spcPts val="200"/>
                        </a:spcBef>
                        <a:spcAft>
                          <a:spcPts val="200"/>
                        </a:spcAft>
                      </a:pPr>
                      <a:r>
                        <a:rPr lang="en-US" sz="1200" dirty="0"/>
                        <a:t>Source(s)</a:t>
                      </a:r>
                      <a:endParaRPr lang="en-AU" sz="1200" dirty="0"/>
                    </a:p>
                  </a:txBody>
                  <a:tcPr/>
                </a:tc>
                <a:tc>
                  <a:txBody>
                    <a:bodyPr/>
                    <a:lstStyle/>
                    <a:p>
                      <a:pPr>
                        <a:spcBef>
                          <a:spcPts val="200"/>
                        </a:spcBef>
                        <a:spcAft>
                          <a:spcPts val="200"/>
                        </a:spcAft>
                      </a:pPr>
                      <a:endParaRPr lang="en-AU" sz="1200" dirty="0"/>
                    </a:p>
                  </a:txBody>
                  <a:tcPr/>
                </a:tc>
                <a:extLst>
                  <a:ext uri="{0D108BD9-81ED-4DB2-BD59-A6C34878D82A}">
                    <a16:rowId xmlns:a16="http://schemas.microsoft.com/office/drawing/2014/main" val="2846608268"/>
                  </a:ext>
                </a:extLst>
              </a:tr>
              <a:tr h="272238">
                <a:tc>
                  <a:txBody>
                    <a:bodyPr/>
                    <a:lstStyle/>
                    <a:p>
                      <a:pPr>
                        <a:spcBef>
                          <a:spcPts val="200"/>
                        </a:spcBef>
                        <a:spcAft>
                          <a:spcPts val="200"/>
                        </a:spcAft>
                      </a:pPr>
                      <a:r>
                        <a:rPr lang="en-AU" sz="1000" dirty="0"/>
                        <a:t>User (people) details</a:t>
                      </a:r>
                    </a:p>
                  </a:txBody>
                  <a:tcPr/>
                </a:tc>
                <a:tc>
                  <a:txBody>
                    <a:bodyPr/>
                    <a:lstStyle/>
                    <a:p>
                      <a:pPr>
                        <a:spcBef>
                          <a:spcPts val="200"/>
                        </a:spcBef>
                        <a:spcAft>
                          <a:spcPts val="200"/>
                        </a:spcAft>
                      </a:pPr>
                      <a:endParaRPr lang="en-AU" sz="1000" dirty="0"/>
                    </a:p>
                  </a:txBody>
                  <a:tcPr/>
                </a:tc>
                <a:tc>
                  <a:txBody>
                    <a:bodyPr/>
                    <a:lstStyle/>
                    <a:p>
                      <a:pPr>
                        <a:spcBef>
                          <a:spcPts val="200"/>
                        </a:spcBef>
                        <a:spcAft>
                          <a:spcPts val="200"/>
                        </a:spcAft>
                      </a:pPr>
                      <a:endParaRPr lang="en-AU" sz="1000" dirty="0"/>
                    </a:p>
                  </a:txBody>
                  <a:tcPr/>
                </a:tc>
                <a:extLst>
                  <a:ext uri="{0D108BD9-81ED-4DB2-BD59-A6C34878D82A}">
                    <a16:rowId xmlns:a16="http://schemas.microsoft.com/office/drawing/2014/main" val="2231585421"/>
                  </a:ext>
                </a:extLst>
              </a:tr>
              <a:tr h="272238">
                <a:tc>
                  <a:txBody>
                    <a:bodyPr/>
                    <a:lstStyle/>
                    <a:p>
                      <a:pPr>
                        <a:spcBef>
                          <a:spcPts val="200"/>
                        </a:spcBef>
                        <a:spcAft>
                          <a:spcPts val="200"/>
                        </a:spcAft>
                      </a:pPr>
                      <a:r>
                        <a:rPr lang="en-AU" sz="1000" dirty="0"/>
                        <a:t>Hardware assets</a:t>
                      </a:r>
                    </a:p>
                  </a:txBody>
                  <a:tcPr/>
                </a:tc>
                <a:tc>
                  <a:txBody>
                    <a:bodyPr/>
                    <a:lstStyle/>
                    <a:p>
                      <a:pPr>
                        <a:spcBef>
                          <a:spcPts val="200"/>
                        </a:spcBef>
                        <a:spcAft>
                          <a:spcPts val="200"/>
                        </a:spcAft>
                      </a:pPr>
                      <a:endParaRPr lang="en-AU" sz="1000" dirty="0"/>
                    </a:p>
                  </a:txBody>
                  <a:tcPr/>
                </a:tc>
                <a:tc>
                  <a:txBody>
                    <a:bodyPr/>
                    <a:lstStyle/>
                    <a:p>
                      <a:pPr>
                        <a:spcBef>
                          <a:spcPts val="200"/>
                        </a:spcBef>
                        <a:spcAft>
                          <a:spcPts val="200"/>
                        </a:spcAft>
                      </a:pPr>
                      <a:endParaRPr lang="en-AU" sz="1000" dirty="0"/>
                    </a:p>
                  </a:txBody>
                  <a:tcPr/>
                </a:tc>
                <a:extLst>
                  <a:ext uri="{0D108BD9-81ED-4DB2-BD59-A6C34878D82A}">
                    <a16:rowId xmlns:a16="http://schemas.microsoft.com/office/drawing/2014/main" val="3202659265"/>
                  </a:ext>
                </a:extLst>
              </a:tr>
              <a:tr h="272238">
                <a:tc>
                  <a:txBody>
                    <a:bodyPr/>
                    <a:lstStyle/>
                    <a:p>
                      <a:pPr>
                        <a:spcBef>
                          <a:spcPts val="200"/>
                        </a:spcBef>
                        <a:spcAft>
                          <a:spcPts val="200"/>
                        </a:spcAft>
                      </a:pPr>
                      <a:r>
                        <a:rPr lang="en-AU" sz="1000" dirty="0"/>
                        <a:t>Location hierarchy</a:t>
                      </a:r>
                    </a:p>
                  </a:txBody>
                  <a:tcPr/>
                </a:tc>
                <a:tc>
                  <a:txBody>
                    <a:bodyPr/>
                    <a:lstStyle/>
                    <a:p>
                      <a:pPr>
                        <a:spcBef>
                          <a:spcPts val="200"/>
                        </a:spcBef>
                        <a:spcAft>
                          <a:spcPts val="200"/>
                        </a:spcAft>
                      </a:pPr>
                      <a:endParaRPr lang="en-AU" sz="1000" dirty="0"/>
                    </a:p>
                  </a:txBody>
                  <a:tcPr/>
                </a:tc>
                <a:tc>
                  <a:txBody>
                    <a:bodyPr/>
                    <a:lstStyle/>
                    <a:p>
                      <a:pPr>
                        <a:spcBef>
                          <a:spcPts val="200"/>
                        </a:spcBef>
                        <a:spcAft>
                          <a:spcPts val="200"/>
                        </a:spcAft>
                      </a:pPr>
                      <a:endParaRPr lang="en-AU" sz="1000" dirty="0"/>
                    </a:p>
                  </a:txBody>
                  <a:tcPr/>
                </a:tc>
                <a:extLst>
                  <a:ext uri="{0D108BD9-81ED-4DB2-BD59-A6C34878D82A}">
                    <a16:rowId xmlns:a16="http://schemas.microsoft.com/office/drawing/2014/main" val="1919461051"/>
                  </a:ext>
                </a:extLst>
              </a:tr>
              <a:tr h="272238">
                <a:tc>
                  <a:txBody>
                    <a:bodyPr/>
                    <a:lstStyle/>
                    <a:p>
                      <a:pPr>
                        <a:spcBef>
                          <a:spcPts val="200"/>
                        </a:spcBef>
                        <a:spcAft>
                          <a:spcPts val="200"/>
                        </a:spcAft>
                      </a:pPr>
                      <a:r>
                        <a:rPr lang="en-AU" sz="1000" dirty="0"/>
                        <a:t>Cost centre hierarchy</a:t>
                      </a:r>
                    </a:p>
                  </a:txBody>
                  <a:tcPr/>
                </a:tc>
                <a:tc>
                  <a:txBody>
                    <a:bodyPr/>
                    <a:lstStyle/>
                    <a:p>
                      <a:pPr>
                        <a:spcBef>
                          <a:spcPts val="200"/>
                        </a:spcBef>
                        <a:spcAft>
                          <a:spcPts val="200"/>
                        </a:spcAft>
                      </a:pPr>
                      <a:endParaRPr lang="en-AU" sz="1000" dirty="0"/>
                    </a:p>
                  </a:txBody>
                  <a:tcPr/>
                </a:tc>
                <a:tc>
                  <a:txBody>
                    <a:bodyPr/>
                    <a:lstStyle/>
                    <a:p>
                      <a:pPr>
                        <a:spcBef>
                          <a:spcPts val="200"/>
                        </a:spcBef>
                        <a:spcAft>
                          <a:spcPts val="200"/>
                        </a:spcAft>
                      </a:pPr>
                      <a:endParaRPr lang="en-AU" sz="1000" dirty="0"/>
                    </a:p>
                  </a:txBody>
                  <a:tcPr/>
                </a:tc>
                <a:extLst>
                  <a:ext uri="{0D108BD9-81ED-4DB2-BD59-A6C34878D82A}">
                    <a16:rowId xmlns:a16="http://schemas.microsoft.com/office/drawing/2014/main" val="841785919"/>
                  </a:ext>
                </a:extLst>
              </a:tr>
              <a:tr h="272238">
                <a:tc>
                  <a:txBody>
                    <a:bodyPr/>
                    <a:lstStyle/>
                    <a:p>
                      <a:pPr>
                        <a:spcBef>
                          <a:spcPts val="200"/>
                        </a:spcBef>
                        <a:spcAft>
                          <a:spcPts val="200"/>
                        </a:spcAft>
                      </a:pPr>
                      <a:r>
                        <a:rPr lang="en-AU" sz="1000" dirty="0"/>
                        <a:t>Business unit hierarchy</a:t>
                      </a:r>
                    </a:p>
                  </a:txBody>
                  <a:tcPr/>
                </a:tc>
                <a:tc>
                  <a:txBody>
                    <a:bodyPr/>
                    <a:lstStyle/>
                    <a:p>
                      <a:pPr>
                        <a:spcBef>
                          <a:spcPts val="200"/>
                        </a:spcBef>
                        <a:spcAft>
                          <a:spcPts val="200"/>
                        </a:spcAft>
                      </a:pPr>
                      <a:endParaRPr lang="en-AU" sz="1000" dirty="0"/>
                    </a:p>
                  </a:txBody>
                  <a:tcPr/>
                </a:tc>
                <a:tc>
                  <a:txBody>
                    <a:bodyPr/>
                    <a:lstStyle/>
                    <a:p>
                      <a:pPr>
                        <a:spcBef>
                          <a:spcPts val="200"/>
                        </a:spcBef>
                        <a:spcAft>
                          <a:spcPts val="200"/>
                        </a:spcAft>
                      </a:pPr>
                      <a:endParaRPr lang="en-AU" sz="1000" dirty="0"/>
                    </a:p>
                  </a:txBody>
                  <a:tcPr/>
                </a:tc>
                <a:extLst>
                  <a:ext uri="{0D108BD9-81ED-4DB2-BD59-A6C34878D82A}">
                    <a16:rowId xmlns:a16="http://schemas.microsoft.com/office/drawing/2014/main" val="3061468837"/>
                  </a:ext>
                </a:extLst>
              </a:tr>
              <a:tr h="272238">
                <a:tc>
                  <a:txBody>
                    <a:bodyPr/>
                    <a:lstStyle/>
                    <a:p>
                      <a:pPr>
                        <a:spcBef>
                          <a:spcPts val="200"/>
                        </a:spcBef>
                        <a:spcAft>
                          <a:spcPts val="200"/>
                        </a:spcAft>
                      </a:pPr>
                      <a:r>
                        <a:rPr lang="en-AU" sz="1000" dirty="0"/>
                        <a:t>Purchases</a:t>
                      </a:r>
                    </a:p>
                  </a:txBody>
                  <a:tcPr/>
                </a:tc>
                <a:tc>
                  <a:txBody>
                    <a:bodyPr/>
                    <a:lstStyle/>
                    <a:p>
                      <a:pPr>
                        <a:spcBef>
                          <a:spcPts val="200"/>
                        </a:spcBef>
                        <a:spcAft>
                          <a:spcPts val="200"/>
                        </a:spcAft>
                      </a:pPr>
                      <a:endParaRPr lang="en-AU" sz="1000" dirty="0"/>
                    </a:p>
                  </a:txBody>
                  <a:tcPr/>
                </a:tc>
                <a:tc>
                  <a:txBody>
                    <a:bodyPr/>
                    <a:lstStyle/>
                    <a:p>
                      <a:pPr>
                        <a:spcBef>
                          <a:spcPts val="200"/>
                        </a:spcBef>
                        <a:spcAft>
                          <a:spcPts val="200"/>
                        </a:spcAft>
                      </a:pPr>
                      <a:endParaRPr lang="en-AU" sz="1000" dirty="0"/>
                    </a:p>
                  </a:txBody>
                  <a:tcPr/>
                </a:tc>
                <a:extLst>
                  <a:ext uri="{0D108BD9-81ED-4DB2-BD59-A6C34878D82A}">
                    <a16:rowId xmlns:a16="http://schemas.microsoft.com/office/drawing/2014/main" val="2682512652"/>
                  </a:ext>
                </a:extLst>
              </a:tr>
              <a:tr h="272238">
                <a:tc>
                  <a:txBody>
                    <a:bodyPr/>
                    <a:lstStyle/>
                    <a:p>
                      <a:pPr>
                        <a:spcBef>
                          <a:spcPts val="200"/>
                        </a:spcBef>
                        <a:spcAft>
                          <a:spcPts val="200"/>
                        </a:spcAft>
                      </a:pPr>
                      <a:r>
                        <a:rPr lang="en-AU" sz="1000" dirty="0"/>
                        <a:t>Contracts</a:t>
                      </a:r>
                    </a:p>
                  </a:txBody>
                  <a:tcPr/>
                </a:tc>
                <a:tc>
                  <a:txBody>
                    <a:bodyPr/>
                    <a:lstStyle/>
                    <a:p>
                      <a:pPr>
                        <a:spcBef>
                          <a:spcPts val="200"/>
                        </a:spcBef>
                        <a:spcAft>
                          <a:spcPts val="200"/>
                        </a:spcAft>
                      </a:pPr>
                      <a:endParaRPr lang="en-AU" sz="1000" dirty="0"/>
                    </a:p>
                  </a:txBody>
                  <a:tcPr/>
                </a:tc>
                <a:tc>
                  <a:txBody>
                    <a:bodyPr/>
                    <a:lstStyle/>
                    <a:p>
                      <a:pPr>
                        <a:spcBef>
                          <a:spcPts val="200"/>
                        </a:spcBef>
                        <a:spcAft>
                          <a:spcPts val="200"/>
                        </a:spcAft>
                      </a:pPr>
                      <a:endParaRPr lang="en-AU" sz="1000" dirty="0"/>
                    </a:p>
                  </a:txBody>
                  <a:tcPr/>
                </a:tc>
                <a:extLst>
                  <a:ext uri="{0D108BD9-81ED-4DB2-BD59-A6C34878D82A}">
                    <a16:rowId xmlns:a16="http://schemas.microsoft.com/office/drawing/2014/main" val="1127478878"/>
                  </a:ext>
                </a:extLst>
              </a:tr>
              <a:tr h="272238">
                <a:tc>
                  <a:txBody>
                    <a:bodyPr/>
                    <a:lstStyle/>
                    <a:p>
                      <a:pPr>
                        <a:spcBef>
                          <a:spcPts val="200"/>
                        </a:spcBef>
                        <a:spcAft>
                          <a:spcPts val="200"/>
                        </a:spcAft>
                      </a:pPr>
                      <a:r>
                        <a:rPr lang="en-US" sz="1000" dirty="0"/>
                        <a:t>Vendors</a:t>
                      </a:r>
                      <a:endParaRPr lang="en-AU" sz="1000" dirty="0"/>
                    </a:p>
                  </a:txBody>
                  <a:tcPr/>
                </a:tc>
                <a:tc>
                  <a:txBody>
                    <a:bodyPr/>
                    <a:lstStyle/>
                    <a:p>
                      <a:pPr>
                        <a:spcBef>
                          <a:spcPts val="200"/>
                        </a:spcBef>
                        <a:spcAft>
                          <a:spcPts val="200"/>
                        </a:spcAft>
                      </a:pPr>
                      <a:endParaRPr lang="en-AU" sz="1000" dirty="0"/>
                    </a:p>
                  </a:txBody>
                  <a:tcPr/>
                </a:tc>
                <a:tc>
                  <a:txBody>
                    <a:bodyPr/>
                    <a:lstStyle/>
                    <a:p>
                      <a:pPr>
                        <a:spcBef>
                          <a:spcPts val="200"/>
                        </a:spcBef>
                        <a:spcAft>
                          <a:spcPts val="200"/>
                        </a:spcAft>
                      </a:pPr>
                      <a:endParaRPr lang="en-AU" sz="1000" dirty="0"/>
                    </a:p>
                  </a:txBody>
                  <a:tcPr/>
                </a:tc>
                <a:extLst>
                  <a:ext uri="{0D108BD9-81ED-4DB2-BD59-A6C34878D82A}">
                    <a16:rowId xmlns:a16="http://schemas.microsoft.com/office/drawing/2014/main" val="4163717763"/>
                  </a:ext>
                </a:extLst>
              </a:tr>
              <a:tr h="272238">
                <a:tc>
                  <a:txBody>
                    <a:bodyPr/>
                    <a:lstStyle/>
                    <a:p>
                      <a:pPr>
                        <a:spcBef>
                          <a:spcPts val="200"/>
                        </a:spcBef>
                        <a:spcAft>
                          <a:spcPts val="200"/>
                        </a:spcAft>
                      </a:pPr>
                      <a:r>
                        <a:rPr lang="en-US" sz="1000" dirty="0"/>
                        <a:t>Inventory Device Roles</a:t>
                      </a:r>
                      <a:endParaRPr lang="en-AU" sz="1000" dirty="0"/>
                    </a:p>
                  </a:txBody>
                  <a:tcPr/>
                </a:tc>
                <a:tc>
                  <a:txBody>
                    <a:bodyPr/>
                    <a:lstStyle/>
                    <a:p>
                      <a:pPr>
                        <a:spcBef>
                          <a:spcPts val="200"/>
                        </a:spcBef>
                        <a:spcAft>
                          <a:spcPts val="200"/>
                        </a:spcAft>
                      </a:pPr>
                      <a:endParaRPr lang="en-AU" sz="1000" dirty="0"/>
                    </a:p>
                  </a:txBody>
                  <a:tcPr/>
                </a:tc>
                <a:tc>
                  <a:txBody>
                    <a:bodyPr/>
                    <a:lstStyle/>
                    <a:p>
                      <a:pPr>
                        <a:spcBef>
                          <a:spcPts val="200"/>
                        </a:spcBef>
                        <a:spcAft>
                          <a:spcPts val="200"/>
                        </a:spcAft>
                      </a:pPr>
                      <a:endParaRPr lang="en-AU" sz="1000" dirty="0"/>
                    </a:p>
                  </a:txBody>
                  <a:tcPr/>
                </a:tc>
                <a:extLst>
                  <a:ext uri="{0D108BD9-81ED-4DB2-BD59-A6C34878D82A}">
                    <a16:rowId xmlns:a16="http://schemas.microsoft.com/office/drawing/2014/main" val="1055790744"/>
                  </a:ext>
                </a:extLst>
              </a:tr>
              <a:tr h="364903">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lang="en-AU" sz="1000" dirty="0"/>
                        <a:t>Relationships between the above record types</a:t>
                      </a:r>
                    </a:p>
                  </a:txBody>
                  <a:tcPr/>
                </a:tc>
                <a:tc>
                  <a:txBody>
                    <a:bodyPr/>
                    <a:lstStyle/>
                    <a:p>
                      <a:pPr>
                        <a:spcBef>
                          <a:spcPts val="200"/>
                        </a:spcBef>
                        <a:spcAft>
                          <a:spcPts val="200"/>
                        </a:spcAft>
                      </a:pPr>
                      <a:endParaRPr lang="en-AU" sz="1200" dirty="0"/>
                    </a:p>
                  </a:txBody>
                  <a:tcPr/>
                </a:tc>
                <a:tc>
                  <a:txBody>
                    <a:bodyPr/>
                    <a:lstStyle/>
                    <a:p>
                      <a:pPr>
                        <a:spcBef>
                          <a:spcPts val="200"/>
                        </a:spcBef>
                        <a:spcAft>
                          <a:spcPts val="200"/>
                        </a:spcAft>
                      </a:pPr>
                      <a:endParaRPr lang="en-AU" sz="1200" dirty="0"/>
                    </a:p>
                  </a:txBody>
                  <a:tcPr/>
                </a:tc>
                <a:extLst>
                  <a:ext uri="{0D108BD9-81ED-4DB2-BD59-A6C34878D82A}">
                    <a16:rowId xmlns:a16="http://schemas.microsoft.com/office/drawing/2014/main" val="1246400642"/>
                  </a:ext>
                </a:extLst>
              </a:tr>
            </a:tbl>
          </a:graphicData>
        </a:graphic>
      </p:graphicFrame>
    </p:spTree>
    <p:extLst>
      <p:ext uri="{BB962C8B-B14F-4D97-AF65-F5344CB8AC3E}">
        <p14:creationId xmlns:p14="http://schemas.microsoft.com/office/powerpoint/2010/main" val="18895947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2604814" y="118927"/>
            <a:ext cx="4717109" cy="476147"/>
          </a:xfrm>
        </p:spPr>
        <p:txBody>
          <a:bodyPr/>
          <a:lstStyle/>
          <a:p>
            <a:pPr algn="l"/>
            <a:r>
              <a:rPr lang="en-GB" dirty="0"/>
              <a:t>Physical Architecture (cloud)</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72316" y="118927"/>
            <a:ext cx="788438" cy="788438"/>
          </a:xfrm>
          <a:prstGeom prst="rect">
            <a:avLst/>
          </a:prstGeom>
        </p:spPr>
      </p:pic>
      <p:sp>
        <p:nvSpPr>
          <p:cNvPr id="12" name="Rectangle 11">
            <a:extLst>
              <a:ext uri="{FF2B5EF4-FFF2-40B4-BE49-F238E27FC236}">
                <a16:creationId xmlns:a16="http://schemas.microsoft.com/office/drawing/2014/main" id="{9F1DCA6C-B528-433C-81A1-E904716E67C6}"/>
              </a:ext>
            </a:extLst>
          </p:cNvPr>
          <p:cNvSpPr/>
          <p:nvPr/>
        </p:nvSpPr>
        <p:spPr>
          <a:xfrm>
            <a:off x="2694144" y="4647672"/>
            <a:ext cx="2254571" cy="300082"/>
          </a:xfrm>
          <a:prstGeom prst="rect">
            <a:avLst/>
          </a:prstGeom>
        </p:spPr>
        <p:txBody>
          <a:bodyPr wrap="square">
            <a:spAutoFit/>
          </a:bodyPr>
          <a:lstStyle/>
          <a:p>
            <a:r>
              <a:rPr lang="en-AU" dirty="0">
                <a:solidFill>
                  <a:srgbClr val="FF0000"/>
                </a:solidFill>
              </a:rPr>
              <a:t>Edit and add additional other types of external systems </a:t>
            </a:r>
          </a:p>
          <a:p>
            <a:r>
              <a:rPr lang="en-AU" dirty="0">
                <a:solidFill>
                  <a:srgbClr val="FF0000"/>
                </a:solidFill>
              </a:rPr>
              <a:t>if applicable (e.g. App Portal)</a:t>
            </a:r>
          </a:p>
        </p:txBody>
      </p:sp>
      <p:graphicFrame>
        <p:nvGraphicFramePr>
          <p:cNvPr id="10" name="Object 9">
            <a:extLst>
              <a:ext uri="{FF2B5EF4-FFF2-40B4-BE49-F238E27FC236}">
                <a16:creationId xmlns:a16="http://schemas.microsoft.com/office/drawing/2014/main" id="{CC69CD44-9A36-41D6-889F-2CBCEEEC4C13}"/>
              </a:ext>
            </a:extLst>
          </p:cNvPr>
          <p:cNvGraphicFramePr>
            <a:graphicFrameLocks noChangeAspect="1"/>
          </p:cNvGraphicFramePr>
          <p:nvPr>
            <p:extLst>
              <p:ext uri="{D42A27DB-BD31-4B8C-83A1-F6EECF244321}">
                <p14:modId xmlns:p14="http://schemas.microsoft.com/office/powerpoint/2010/main" val="2225172905"/>
              </p:ext>
            </p:extLst>
          </p:nvPr>
        </p:nvGraphicFramePr>
        <p:xfrm>
          <a:off x="1394460" y="756529"/>
          <a:ext cx="5692140" cy="4000608"/>
        </p:xfrm>
        <a:graphic>
          <a:graphicData uri="http://schemas.openxmlformats.org/presentationml/2006/ole">
            <mc:AlternateContent xmlns:mc="http://schemas.openxmlformats.org/markup-compatibility/2006">
              <mc:Choice xmlns:v="urn:schemas-microsoft-com:vml" Requires="v">
                <p:oleObj spid="_x0000_s4155" name="Visio" r:id="rId7" imgW="8077023" imgH="5676939" progId="Visio.Drawing.15">
                  <p:embed/>
                </p:oleObj>
              </mc:Choice>
              <mc:Fallback>
                <p:oleObj name="Visio" r:id="rId7" imgW="8077023" imgH="5676939" progId="Visio.Drawing.15">
                  <p:embed/>
                  <p:pic>
                    <p:nvPicPr>
                      <p:cNvPr id="5" name="Object 4">
                        <a:extLst>
                          <a:ext uri="{FF2B5EF4-FFF2-40B4-BE49-F238E27FC236}">
                            <a16:creationId xmlns:a16="http://schemas.microsoft.com/office/drawing/2014/main" id="{EC6264D3-203D-4369-AA2F-7939BCCA85DB}"/>
                          </a:ext>
                        </a:extLst>
                      </p:cNvPr>
                      <p:cNvPicPr/>
                      <p:nvPr/>
                    </p:nvPicPr>
                    <p:blipFill>
                      <a:blip r:embed="rId8"/>
                      <a:stretch>
                        <a:fillRect/>
                      </a:stretch>
                    </p:blipFill>
                    <p:spPr>
                      <a:xfrm>
                        <a:off x="1394460" y="756529"/>
                        <a:ext cx="5692140" cy="4000608"/>
                      </a:xfrm>
                      <a:prstGeom prst="rect">
                        <a:avLst/>
                      </a:prstGeom>
                    </p:spPr>
                  </p:pic>
                </p:oleObj>
              </mc:Fallback>
            </mc:AlternateContent>
          </a:graphicData>
        </a:graphic>
      </p:graphicFrame>
    </p:spTree>
    <p:extLst>
      <p:ext uri="{BB962C8B-B14F-4D97-AF65-F5344CB8AC3E}">
        <p14:creationId xmlns:p14="http://schemas.microsoft.com/office/powerpoint/2010/main" val="30577174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2299448" y="118927"/>
            <a:ext cx="5022476" cy="476147"/>
          </a:xfrm>
        </p:spPr>
        <p:txBody>
          <a:bodyPr/>
          <a:lstStyle/>
          <a:p>
            <a:pPr algn="l"/>
            <a:r>
              <a:rPr lang="en-GB" dirty="0"/>
              <a:t>Physical Architecture (on-prem)</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72316" y="118927"/>
            <a:ext cx="788438" cy="788438"/>
          </a:xfrm>
          <a:prstGeom prst="rect">
            <a:avLst/>
          </a:prstGeom>
        </p:spPr>
      </p:pic>
      <p:sp>
        <p:nvSpPr>
          <p:cNvPr id="12" name="Rectangle 11">
            <a:extLst>
              <a:ext uri="{FF2B5EF4-FFF2-40B4-BE49-F238E27FC236}">
                <a16:creationId xmlns:a16="http://schemas.microsoft.com/office/drawing/2014/main" id="{9F1DCA6C-B528-433C-81A1-E904716E67C6}"/>
              </a:ext>
            </a:extLst>
          </p:cNvPr>
          <p:cNvSpPr/>
          <p:nvPr/>
        </p:nvSpPr>
        <p:spPr>
          <a:xfrm>
            <a:off x="2694144" y="4647672"/>
            <a:ext cx="2254571" cy="300082"/>
          </a:xfrm>
          <a:prstGeom prst="rect">
            <a:avLst/>
          </a:prstGeom>
        </p:spPr>
        <p:txBody>
          <a:bodyPr wrap="square">
            <a:spAutoFit/>
          </a:bodyPr>
          <a:lstStyle/>
          <a:p>
            <a:r>
              <a:rPr lang="en-AU" dirty="0">
                <a:solidFill>
                  <a:srgbClr val="FF0000"/>
                </a:solidFill>
              </a:rPr>
              <a:t>Edit and add additional other types of external systems </a:t>
            </a:r>
          </a:p>
          <a:p>
            <a:r>
              <a:rPr lang="en-AU" dirty="0">
                <a:solidFill>
                  <a:srgbClr val="FF0000"/>
                </a:solidFill>
              </a:rPr>
              <a:t>if applicable (e.g. App Portal)</a:t>
            </a:r>
          </a:p>
        </p:txBody>
      </p:sp>
      <p:graphicFrame>
        <p:nvGraphicFramePr>
          <p:cNvPr id="9" name="Object 8">
            <a:extLst>
              <a:ext uri="{FF2B5EF4-FFF2-40B4-BE49-F238E27FC236}">
                <a16:creationId xmlns:a16="http://schemas.microsoft.com/office/drawing/2014/main" id="{248554BD-780D-4C90-8E0F-1065137BD6C6}"/>
              </a:ext>
            </a:extLst>
          </p:cNvPr>
          <p:cNvGraphicFramePr>
            <a:graphicFrameLocks noChangeAspect="1"/>
          </p:cNvGraphicFramePr>
          <p:nvPr>
            <p:extLst>
              <p:ext uri="{D42A27DB-BD31-4B8C-83A1-F6EECF244321}">
                <p14:modId xmlns:p14="http://schemas.microsoft.com/office/powerpoint/2010/main" val="3577442711"/>
              </p:ext>
            </p:extLst>
          </p:nvPr>
        </p:nvGraphicFramePr>
        <p:xfrm>
          <a:off x="795393" y="633346"/>
          <a:ext cx="6721079" cy="3936927"/>
        </p:xfrm>
        <a:graphic>
          <a:graphicData uri="http://schemas.openxmlformats.org/presentationml/2006/ole">
            <mc:AlternateContent xmlns:mc="http://schemas.openxmlformats.org/markup-compatibility/2006">
              <mc:Choice xmlns:v="urn:schemas-microsoft-com:vml" Requires="v">
                <p:oleObj spid="_x0000_s5179" name="Visio" r:id="rId7" imgW="10649039" imgH="6239012" progId="Visio.Drawing.15">
                  <p:embed/>
                </p:oleObj>
              </mc:Choice>
              <mc:Fallback>
                <p:oleObj name="Visio" r:id="rId7" imgW="10649039" imgH="6239012" progId="Visio.Drawing.15">
                  <p:embed/>
                  <p:pic>
                    <p:nvPicPr>
                      <p:cNvPr id="6" name="Object 5">
                        <a:extLst>
                          <a:ext uri="{FF2B5EF4-FFF2-40B4-BE49-F238E27FC236}">
                            <a16:creationId xmlns:a16="http://schemas.microsoft.com/office/drawing/2014/main" id="{B2CAE5BE-B1A6-4E50-8568-C57F26925855}"/>
                          </a:ext>
                        </a:extLst>
                      </p:cNvPr>
                      <p:cNvPicPr/>
                      <p:nvPr/>
                    </p:nvPicPr>
                    <p:blipFill>
                      <a:blip r:embed="rId8"/>
                      <a:stretch>
                        <a:fillRect/>
                      </a:stretch>
                    </p:blipFill>
                    <p:spPr>
                      <a:xfrm>
                        <a:off x="795393" y="633346"/>
                        <a:ext cx="6721079" cy="3936927"/>
                      </a:xfrm>
                      <a:prstGeom prst="rect">
                        <a:avLst/>
                      </a:prstGeom>
                    </p:spPr>
                  </p:pic>
                </p:oleObj>
              </mc:Fallback>
            </mc:AlternateContent>
          </a:graphicData>
        </a:graphic>
      </p:graphicFrame>
    </p:spTree>
    <p:extLst>
      <p:ext uri="{BB962C8B-B14F-4D97-AF65-F5344CB8AC3E}">
        <p14:creationId xmlns:p14="http://schemas.microsoft.com/office/powerpoint/2010/main" val="38544895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Inventory Beacon Placement</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2316" y="118927"/>
            <a:ext cx="788438" cy="788438"/>
          </a:xfrm>
          <a:prstGeom prst="rect">
            <a:avLst/>
          </a:prstGeom>
        </p:spPr>
      </p:pic>
      <p:graphicFrame>
        <p:nvGraphicFramePr>
          <p:cNvPr id="10" name="Table 9">
            <a:extLst>
              <a:ext uri="{FF2B5EF4-FFF2-40B4-BE49-F238E27FC236}">
                <a16:creationId xmlns:a16="http://schemas.microsoft.com/office/drawing/2014/main" id="{6FB97E1F-B84A-42B5-96D2-5BE5ADEF3982}"/>
              </a:ext>
            </a:extLst>
          </p:cNvPr>
          <p:cNvGraphicFramePr>
            <a:graphicFrameLocks noGrp="1"/>
          </p:cNvGraphicFramePr>
          <p:nvPr>
            <p:extLst>
              <p:ext uri="{D42A27DB-BD31-4B8C-83A1-F6EECF244321}">
                <p14:modId xmlns:p14="http://schemas.microsoft.com/office/powerpoint/2010/main" val="3821467276"/>
              </p:ext>
            </p:extLst>
          </p:nvPr>
        </p:nvGraphicFramePr>
        <p:xfrm>
          <a:off x="459828" y="1223682"/>
          <a:ext cx="7426872" cy="2840812"/>
        </p:xfrm>
        <a:graphic>
          <a:graphicData uri="http://schemas.openxmlformats.org/drawingml/2006/table">
            <a:tbl>
              <a:tblPr firstRow="1" bandRow="1">
                <a:tableStyleId>{B301B821-A1FF-4177-AEE7-76D212191A09}</a:tableStyleId>
              </a:tblPr>
              <a:tblGrid>
                <a:gridCol w="3473437">
                  <a:extLst>
                    <a:ext uri="{9D8B030D-6E8A-4147-A177-3AD203B41FA5}">
                      <a16:colId xmlns:a16="http://schemas.microsoft.com/office/drawing/2014/main" val="2751842210"/>
                    </a:ext>
                  </a:extLst>
                </a:gridCol>
                <a:gridCol w="3953435">
                  <a:extLst>
                    <a:ext uri="{9D8B030D-6E8A-4147-A177-3AD203B41FA5}">
                      <a16:colId xmlns:a16="http://schemas.microsoft.com/office/drawing/2014/main" val="3471960622"/>
                    </a:ext>
                  </a:extLst>
                </a:gridCol>
              </a:tblGrid>
              <a:tr h="285186">
                <a:tc>
                  <a:txBody>
                    <a:bodyPr/>
                    <a:lstStyle/>
                    <a:p>
                      <a:r>
                        <a:rPr lang="en-US" dirty="0"/>
                        <a:t>Beacon Location</a:t>
                      </a:r>
                      <a:endParaRPr lang="en-AU" dirty="0"/>
                    </a:p>
                  </a:txBody>
                  <a:tcPr/>
                </a:tc>
                <a:tc>
                  <a:txBody>
                    <a:bodyPr/>
                    <a:lstStyle/>
                    <a:p>
                      <a:r>
                        <a:rPr lang="en-US" dirty="0"/>
                        <a:t>Beacon functions</a:t>
                      </a:r>
                      <a:endParaRPr lang="en-AU" dirty="0"/>
                    </a:p>
                  </a:txBody>
                  <a:tcPr/>
                </a:tc>
                <a:extLst>
                  <a:ext uri="{0D108BD9-81ED-4DB2-BD59-A6C34878D82A}">
                    <a16:rowId xmlns:a16="http://schemas.microsoft.com/office/drawing/2014/main" val="2263223921"/>
                  </a:ext>
                </a:extLst>
              </a:tr>
              <a:tr h="1074933">
                <a:tc>
                  <a:txBody>
                    <a:bodyPr/>
                    <a:lstStyle/>
                    <a:p>
                      <a:endParaRPr lang="en-AU" dirty="0"/>
                    </a:p>
                  </a:txBody>
                  <a:tcPr/>
                </a:tc>
                <a:tc>
                  <a:txBody>
                    <a:bodyPr/>
                    <a:lstStyle/>
                    <a:p>
                      <a:r>
                        <a:rPr lang="en-US" dirty="0"/>
                        <a:t>e.g.</a:t>
                      </a:r>
                    </a:p>
                    <a:p>
                      <a:r>
                        <a:rPr lang="en-US" dirty="0"/>
                        <a:t>Inventory Gathering – Intranet devices</a:t>
                      </a:r>
                    </a:p>
                    <a:p>
                      <a:r>
                        <a:rPr lang="en-US" dirty="0"/>
                        <a:t>Inventory Gathering – Internet devices</a:t>
                      </a:r>
                    </a:p>
                    <a:p>
                      <a:r>
                        <a:rPr lang="en-US" dirty="0"/>
                        <a:t>Business adapter connections</a:t>
                      </a:r>
                    </a:p>
                    <a:p>
                      <a:r>
                        <a:rPr lang="en-US" dirty="0"/>
                        <a:t>Inventory connections</a:t>
                      </a:r>
                      <a:endParaRPr lang="en-AU" dirty="0"/>
                    </a:p>
                  </a:txBody>
                  <a:tcPr/>
                </a:tc>
                <a:extLst>
                  <a:ext uri="{0D108BD9-81ED-4DB2-BD59-A6C34878D82A}">
                    <a16:rowId xmlns:a16="http://schemas.microsoft.com/office/drawing/2014/main" val="1481721098"/>
                  </a:ext>
                </a:extLst>
              </a:tr>
              <a:tr h="355873">
                <a:tc>
                  <a:txBody>
                    <a:bodyPr/>
                    <a:lstStyle/>
                    <a:p>
                      <a:endParaRPr lang="en-AU"/>
                    </a:p>
                  </a:txBody>
                  <a:tcPr/>
                </a:tc>
                <a:tc>
                  <a:txBody>
                    <a:bodyPr/>
                    <a:lstStyle/>
                    <a:p>
                      <a:endParaRPr lang="en-AU"/>
                    </a:p>
                  </a:txBody>
                  <a:tcPr/>
                </a:tc>
                <a:extLst>
                  <a:ext uri="{0D108BD9-81ED-4DB2-BD59-A6C34878D82A}">
                    <a16:rowId xmlns:a16="http://schemas.microsoft.com/office/drawing/2014/main" val="2500480391"/>
                  </a:ext>
                </a:extLst>
              </a:tr>
              <a:tr h="355873">
                <a:tc>
                  <a:txBody>
                    <a:bodyPr/>
                    <a:lstStyle/>
                    <a:p>
                      <a:endParaRPr lang="en-AU" dirty="0"/>
                    </a:p>
                  </a:txBody>
                  <a:tcPr/>
                </a:tc>
                <a:tc>
                  <a:txBody>
                    <a:bodyPr/>
                    <a:lstStyle/>
                    <a:p>
                      <a:endParaRPr lang="en-AU"/>
                    </a:p>
                  </a:txBody>
                  <a:tcPr/>
                </a:tc>
                <a:extLst>
                  <a:ext uri="{0D108BD9-81ED-4DB2-BD59-A6C34878D82A}">
                    <a16:rowId xmlns:a16="http://schemas.microsoft.com/office/drawing/2014/main" val="1301639204"/>
                  </a:ext>
                </a:extLst>
              </a:tr>
              <a:tr h="355873">
                <a:tc>
                  <a:txBody>
                    <a:bodyPr/>
                    <a:lstStyle/>
                    <a:p>
                      <a:endParaRPr lang="en-AU"/>
                    </a:p>
                  </a:txBody>
                  <a:tcPr/>
                </a:tc>
                <a:tc>
                  <a:txBody>
                    <a:bodyPr/>
                    <a:lstStyle/>
                    <a:p>
                      <a:endParaRPr lang="en-AU"/>
                    </a:p>
                  </a:txBody>
                  <a:tcPr/>
                </a:tc>
                <a:extLst>
                  <a:ext uri="{0D108BD9-81ED-4DB2-BD59-A6C34878D82A}">
                    <a16:rowId xmlns:a16="http://schemas.microsoft.com/office/drawing/2014/main" val="1920775591"/>
                  </a:ext>
                </a:extLst>
              </a:tr>
              <a:tr h="355873">
                <a:tc>
                  <a:txBody>
                    <a:bodyPr/>
                    <a:lstStyle/>
                    <a:p>
                      <a:endParaRPr lang="en-AU"/>
                    </a:p>
                  </a:txBody>
                  <a:tcPr/>
                </a:tc>
                <a:tc>
                  <a:txBody>
                    <a:bodyPr/>
                    <a:lstStyle/>
                    <a:p>
                      <a:endParaRPr lang="en-AU" dirty="0"/>
                    </a:p>
                  </a:txBody>
                  <a:tcPr/>
                </a:tc>
                <a:extLst>
                  <a:ext uri="{0D108BD9-81ED-4DB2-BD59-A6C34878D82A}">
                    <a16:rowId xmlns:a16="http://schemas.microsoft.com/office/drawing/2014/main" val="1612889569"/>
                  </a:ext>
                </a:extLst>
              </a:tr>
            </a:tbl>
          </a:graphicData>
        </a:graphic>
      </p:graphicFrame>
    </p:spTree>
    <p:extLst>
      <p:ext uri="{BB962C8B-B14F-4D97-AF65-F5344CB8AC3E}">
        <p14:creationId xmlns:p14="http://schemas.microsoft.com/office/powerpoint/2010/main" val="10634209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Security Architecture</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2316" y="118927"/>
            <a:ext cx="788438" cy="788438"/>
          </a:xfrm>
          <a:prstGeom prst="rect">
            <a:avLst/>
          </a:prstGeom>
        </p:spPr>
      </p:pic>
      <p:graphicFrame>
        <p:nvGraphicFramePr>
          <p:cNvPr id="9" name="Table 8">
            <a:extLst>
              <a:ext uri="{FF2B5EF4-FFF2-40B4-BE49-F238E27FC236}">
                <a16:creationId xmlns:a16="http://schemas.microsoft.com/office/drawing/2014/main" id="{67D45F68-153C-4DA5-9C85-F666E399CFD5}"/>
              </a:ext>
            </a:extLst>
          </p:cNvPr>
          <p:cNvGraphicFramePr>
            <a:graphicFrameLocks noGrp="1"/>
          </p:cNvGraphicFramePr>
          <p:nvPr>
            <p:extLst>
              <p:ext uri="{D42A27DB-BD31-4B8C-83A1-F6EECF244321}">
                <p14:modId xmlns:p14="http://schemas.microsoft.com/office/powerpoint/2010/main" val="4161020662"/>
              </p:ext>
            </p:extLst>
          </p:nvPr>
        </p:nvGraphicFramePr>
        <p:xfrm>
          <a:off x="360975" y="1159503"/>
          <a:ext cx="7711341" cy="2725570"/>
        </p:xfrm>
        <a:graphic>
          <a:graphicData uri="http://schemas.openxmlformats.org/drawingml/2006/table">
            <a:tbl>
              <a:tblPr firstRow="1" bandRow="1">
                <a:tableStyleId>{B301B821-A1FF-4177-AEE7-76D212191A09}</a:tableStyleId>
              </a:tblPr>
              <a:tblGrid>
                <a:gridCol w="1429605">
                  <a:extLst>
                    <a:ext uri="{9D8B030D-6E8A-4147-A177-3AD203B41FA5}">
                      <a16:colId xmlns:a16="http://schemas.microsoft.com/office/drawing/2014/main" val="2751842210"/>
                    </a:ext>
                  </a:extLst>
                </a:gridCol>
                <a:gridCol w="3140868">
                  <a:extLst>
                    <a:ext uri="{9D8B030D-6E8A-4147-A177-3AD203B41FA5}">
                      <a16:colId xmlns:a16="http://schemas.microsoft.com/office/drawing/2014/main" val="3471960622"/>
                    </a:ext>
                  </a:extLst>
                </a:gridCol>
                <a:gridCol w="3140868">
                  <a:extLst>
                    <a:ext uri="{9D8B030D-6E8A-4147-A177-3AD203B41FA5}">
                      <a16:colId xmlns:a16="http://schemas.microsoft.com/office/drawing/2014/main" val="1187741501"/>
                    </a:ext>
                  </a:extLst>
                </a:gridCol>
              </a:tblGrid>
              <a:tr h="217109">
                <a:tc>
                  <a:txBody>
                    <a:bodyPr/>
                    <a:lstStyle/>
                    <a:p>
                      <a:r>
                        <a:rPr lang="en-US" sz="1100" dirty="0"/>
                        <a:t>Account</a:t>
                      </a:r>
                      <a:endParaRPr lang="en-AU" sz="1100" dirty="0"/>
                    </a:p>
                  </a:txBody>
                  <a:tcPr/>
                </a:tc>
                <a:tc>
                  <a:txBody>
                    <a:bodyPr/>
                    <a:lstStyle/>
                    <a:p>
                      <a:r>
                        <a:rPr lang="en-US" sz="1100" dirty="0"/>
                        <a:t>Used for …</a:t>
                      </a:r>
                      <a:endParaRPr lang="en-AU" sz="1100" dirty="0"/>
                    </a:p>
                  </a:txBody>
                  <a:tcPr/>
                </a:tc>
                <a:tc>
                  <a:txBody>
                    <a:bodyPr/>
                    <a:lstStyle/>
                    <a:p>
                      <a:r>
                        <a:rPr lang="en-US" sz="1100" dirty="0"/>
                        <a:t>Rights needed</a:t>
                      </a:r>
                      <a:endParaRPr lang="en-AU" sz="1100" dirty="0"/>
                    </a:p>
                  </a:txBody>
                  <a:tcPr/>
                </a:tc>
                <a:extLst>
                  <a:ext uri="{0D108BD9-81ED-4DB2-BD59-A6C34878D82A}">
                    <a16:rowId xmlns:a16="http://schemas.microsoft.com/office/drawing/2014/main" val="2263223921"/>
                  </a:ext>
                </a:extLst>
              </a:tr>
              <a:tr h="374736">
                <a:tc>
                  <a:txBody>
                    <a:bodyPr/>
                    <a:lstStyle/>
                    <a:p>
                      <a:r>
                        <a:rPr lang="en-US" sz="1100" dirty="0"/>
                        <a:t>End user account</a:t>
                      </a:r>
                      <a:endParaRPr lang="en-AU" sz="1100" dirty="0"/>
                    </a:p>
                  </a:txBody>
                  <a:tcPr/>
                </a:tc>
                <a:tc>
                  <a:txBody>
                    <a:bodyPr/>
                    <a:lstStyle/>
                    <a:p>
                      <a:r>
                        <a:rPr lang="en-US" sz="1100" dirty="0"/>
                        <a:t>Logging on to FNMS</a:t>
                      </a:r>
                      <a:endParaRPr lang="en-AU" sz="1100" dirty="0"/>
                    </a:p>
                  </a:txBody>
                  <a:tcPr/>
                </a:tc>
                <a:tc>
                  <a:txBody>
                    <a:bodyPr/>
                    <a:lstStyle/>
                    <a:p>
                      <a:endParaRPr lang="en-AU" sz="1100" dirty="0"/>
                    </a:p>
                  </a:txBody>
                  <a:tcPr/>
                </a:tc>
                <a:extLst>
                  <a:ext uri="{0D108BD9-81ED-4DB2-BD59-A6C34878D82A}">
                    <a16:rowId xmlns:a16="http://schemas.microsoft.com/office/drawing/2014/main" val="2824094333"/>
                  </a:ext>
                </a:extLst>
              </a:tr>
              <a:tr h="374736">
                <a:tc>
                  <a:txBody>
                    <a:bodyPr/>
                    <a:lstStyle/>
                    <a:p>
                      <a:r>
                        <a:rPr lang="en-US" sz="1100" dirty="0"/>
                        <a:t>FNMS Service Account</a:t>
                      </a:r>
                      <a:endParaRPr lang="en-AU" sz="1100" dirty="0"/>
                    </a:p>
                  </a:txBody>
                  <a:tcPr/>
                </a:tc>
                <a:tc>
                  <a:txBody>
                    <a:bodyPr/>
                    <a:lstStyle/>
                    <a:p>
                      <a:r>
                        <a:rPr lang="en-US" sz="1100" dirty="0"/>
                        <a:t>Running services on the FNMS servers and Inventory Beacons</a:t>
                      </a:r>
                      <a:endParaRPr lang="en-AU" sz="1100" dirty="0"/>
                    </a:p>
                  </a:txBody>
                  <a:tcPr/>
                </a:tc>
                <a:tc>
                  <a:txBody>
                    <a:bodyPr/>
                    <a:lstStyle/>
                    <a:p>
                      <a:endParaRPr lang="en-AU" sz="1100" dirty="0"/>
                    </a:p>
                  </a:txBody>
                  <a:tcPr/>
                </a:tc>
                <a:extLst>
                  <a:ext uri="{0D108BD9-81ED-4DB2-BD59-A6C34878D82A}">
                    <a16:rowId xmlns:a16="http://schemas.microsoft.com/office/drawing/2014/main" val="1481721098"/>
                  </a:ext>
                </a:extLst>
              </a:tr>
              <a:tr h="535337">
                <a:tc>
                  <a:txBody>
                    <a:bodyPr/>
                    <a:lstStyle/>
                    <a:p>
                      <a:r>
                        <a:rPr lang="en-US" sz="1100" dirty="0"/>
                        <a:t>Agent Authentication Account</a:t>
                      </a:r>
                      <a:endParaRPr lang="en-AU" sz="1100" dirty="0"/>
                    </a:p>
                  </a:txBody>
                  <a:tcPr/>
                </a:tc>
                <a:tc>
                  <a:txBody>
                    <a:bodyPr/>
                    <a:lstStyle/>
                    <a:p>
                      <a:r>
                        <a:rPr lang="en-US" sz="1100" dirty="0"/>
                        <a:t>FNMS agent authenticating itself to Inventory Beacons</a:t>
                      </a:r>
                      <a:endParaRPr lang="en-AU" sz="1100" dirty="0"/>
                    </a:p>
                  </a:txBody>
                  <a:tcPr/>
                </a:tc>
                <a:tc>
                  <a:txBody>
                    <a:bodyPr/>
                    <a:lstStyle/>
                    <a:p>
                      <a:endParaRPr lang="en-AU" sz="1100" dirty="0"/>
                    </a:p>
                  </a:txBody>
                  <a:tcPr/>
                </a:tc>
                <a:extLst>
                  <a:ext uri="{0D108BD9-81ED-4DB2-BD59-A6C34878D82A}">
                    <a16:rowId xmlns:a16="http://schemas.microsoft.com/office/drawing/2014/main" val="2500480391"/>
                  </a:ext>
                </a:extLst>
              </a:tr>
              <a:tr h="535337">
                <a:tc>
                  <a:txBody>
                    <a:bodyPr/>
                    <a:lstStyle/>
                    <a:p>
                      <a:r>
                        <a:rPr lang="en-US" sz="1100" dirty="0"/>
                        <a:t>Office 365 Authentication token</a:t>
                      </a:r>
                      <a:endParaRPr lang="en-AU" sz="1100" dirty="0"/>
                    </a:p>
                  </a:txBody>
                  <a:tcPr/>
                </a:tc>
                <a:tc>
                  <a:txBody>
                    <a:bodyPr/>
                    <a:lstStyle/>
                    <a:p>
                      <a:r>
                        <a:rPr lang="en-US" sz="1100" dirty="0"/>
                        <a:t>Inventory Beacon authenticating itself to Azure to gather Office 365 data</a:t>
                      </a:r>
                      <a:endParaRPr lang="en-AU" sz="1100" dirty="0"/>
                    </a:p>
                  </a:txBody>
                  <a:tcPr/>
                </a:tc>
                <a:tc>
                  <a:txBody>
                    <a:bodyPr/>
                    <a:lstStyle/>
                    <a:p>
                      <a:endParaRPr lang="en-AU" sz="1100" dirty="0"/>
                    </a:p>
                  </a:txBody>
                  <a:tcPr/>
                </a:tc>
                <a:extLst>
                  <a:ext uri="{0D108BD9-81ED-4DB2-BD59-A6C34878D82A}">
                    <a16:rowId xmlns:a16="http://schemas.microsoft.com/office/drawing/2014/main" val="1301639204"/>
                  </a:ext>
                </a:extLst>
              </a:tr>
              <a:tr h="535337">
                <a:tc>
                  <a:txBody>
                    <a:bodyPr/>
                    <a:lstStyle/>
                    <a:p>
                      <a:r>
                        <a:rPr lang="en-US" sz="1100" dirty="0"/>
                        <a:t>XenApp Service Account</a:t>
                      </a:r>
                      <a:endParaRPr lang="en-AU" sz="1100" dirty="0"/>
                    </a:p>
                  </a:txBody>
                  <a:tcPr/>
                </a:tc>
                <a:tc>
                  <a:txBody>
                    <a:bodyPr/>
                    <a:lstStyle/>
                    <a:p>
                      <a:r>
                        <a:rPr lang="en-US" sz="1100" dirty="0"/>
                        <a:t>Run the FNMS XenApp Server Agent</a:t>
                      </a:r>
                      <a:endParaRPr lang="en-AU" sz="1100" dirty="0"/>
                    </a:p>
                  </a:txBody>
                  <a:tcPr/>
                </a:tc>
                <a:tc>
                  <a:txBody>
                    <a:bodyPr/>
                    <a:lstStyle/>
                    <a:p>
                      <a:endParaRPr lang="en-AU" sz="1100" dirty="0"/>
                    </a:p>
                  </a:txBody>
                  <a:tcPr/>
                </a:tc>
                <a:extLst>
                  <a:ext uri="{0D108BD9-81ED-4DB2-BD59-A6C34878D82A}">
                    <a16:rowId xmlns:a16="http://schemas.microsoft.com/office/drawing/2014/main" val="1920775591"/>
                  </a:ext>
                </a:extLst>
              </a:tr>
            </a:tbl>
          </a:graphicData>
        </a:graphic>
      </p:graphicFrame>
    </p:spTree>
    <p:extLst>
      <p:ext uri="{BB962C8B-B14F-4D97-AF65-F5344CB8AC3E}">
        <p14:creationId xmlns:p14="http://schemas.microsoft.com/office/powerpoint/2010/main" val="37684463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Hardware Requirements</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2316" y="118927"/>
            <a:ext cx="788438" cy="788438"/>
          </a:xfrm>
          <a:prstGeom prst="rect">
            <a:avLst/>
          </a:prstGeom>
        </p:spPr>
      </p:pic>
      <p:graphicFrame>
        <p:nvGraphicFramePr>
          <p:cNvPr id="10" name="Content Placeholder 7">
            <a:extLst>
              <a:ext uri="{FF2B5EF4-FFF2-40B4-BE49-F238E27FC236}">
                <a16:creationId xmlns:a16="http://schemas.microsoft.com/office/drawing/2014/main" id="{3BACDA59-9A2E-4B54-843D-C0416E53F4B0}"/>
              </a:ext>
            </a:extLst>
          </p:cNvPr>
          <p:cNvGraphicFramePr>
            <a:graphicFrameLocks/>
          </p:cNvGraphicFramePr>
          <p:nvPr>
            <p:extLst>
              <p:ext uri="{D42A27DB-BD31-4B8C-83A1-F6EECF244321}">
                <p14:modId xmlns:p14="http://schemas.microsoft.com/office/powerpoint/2010/main" val="2186656935"/>
              </p:ext>
            </p:extLst>
          </p:nvPr>
        </p:nvGraphicFramePr>
        <p:xfrm>
          <a:off x="431538" y="1203241"/>
          <a:ext cx="7338941" cy="2326601"/>
        </p:xfrm>
        <a:graphic>
          <a:graphicData uri="http://schemas.openxmlformats.org/drawingml/2006/table">
            <a:tbl>
              <a:tblPr firstRow="1" firstCol="1" bandRow="1">
                <a:tableStyleId>{B301B821-A1FF-4177-AEE7-76D212191A09}</a:tableStyleId>
              </a:tblPr>
              <a:tblGrid>
                <a:gridCol w="1978127">
                  <a:extLst>
                    <a:ext uri="{9D8B030D-6E8A-4147-A177-3AD203B41FA5}">
                      <a16:colId xmlns:a16="http://schemas.microsoft.com/office/drawing/2014/main" val="20000"/>
                    </a:ext>
                  </a:extLst>
                </a:gridCol>
                <a:gridCol w="5360814">
                  <a:extLst>
                    <a:ext uri="{9D8B030D-6E8A-4147-A177-3AD203B41FA5}">
                      <a16:colId xmlns:a16="http://schemas.microsoft.com/office/drawing/2014/main" val="20001"/>
                    </a:ext>
                  </a:extLst>
                </a:gridCol>
              </a:tblGrid>
              <a:tr h="302830">
                <a:tc>
                  <a:txBody>
                    <a:bodyPr/>
                    <a:lstStyle/>
                    <a:p>
                      <a:pPr>
                        <a:lnSpc>
                          <a:spcPct val="115000"/>
                        </a:lnSpc>
                        <a:spcBef>
                          <a:spcPts val="800"/>
                        </a:spcBef>
                        <a:spcAft>
                          <a:spcPts val="0"/>
                        </a:spcAft>
                      </a:pPr>
                      <a:r>
                        <a:rPr lang="en-US" sz="1200" dirty="0">
                          <a:effectLst/>
                        </a:rPr>
                        <a:t>Server</a:t>
                      </a:r>
                      <a:endParaRPr lang="en-AU" sz="1200" dirty="0">
                        <a:effectLst/>
                        <a:latin typeface="+mn-lt"/>
                        <a:ea typeface="Calibri"/>
                        <a:cs typeface="Times New Roman"/>
                      </a:endParaRPr>
                    </a:p>
                  </a:txBody>
                  <a:tcPr marL="68580" marR="68580" marT="0" marB="0"/>
                </a:tc>
                <a:tc>
                  <a:txBody>
                    <a:bodyPr/>
                    <a:lstStyle/>
                    <a:p>
                      <a:pPr>
                        <a:lnSpc>
                          <a:spcPct val="115000"/>
                        </a:lnSpc>
                        <a:spcBef>
                          <a:spcPts val="800"/>
                        </a:spcBef>
                        <a:spcAft>
                          <a:spcPts val="0"/>
                        </a:spcAft>
                      </a:pPr>
                      <a:r>
                        <a:rPr lang="en-US" sz="1200" dirty="0">
                          <a:effectLst/>
                        </a:rPr>
                        <a:t>Requirements</a:t>
                      </a:r>
                      <a:endParaRPr lang="en-AU" sz="1200" dirty="0">
                        <a:effectLst/>
                        <a:latin typeface="+mn-lt"/>
                        <a:ea typeface="Calibri"/>
                        <a:cs typeface="Times New Roman"/>
                      </a:endParaRPr>
                    </a:p>
                  </a:txBody>
                  <a:tcPr marL="68580" marR="68580" marT="0" marB="0"/>
                </a:tc>
                <a:extLst>
                  <a:ext uri="{0D108BD9-81ED-4DB2-BD59-A6C34878D82A}">
                    <a16:rowId xmlns:a16="http://schemas.microsoft.com/office/drawing/2014/main" val="10000"/>
                  </a:ext>
                </a:extLst>
              </a:tr>
              <a:tr h="1234599">
                <a:tc>
                  <a:txBody>
                    <a:bodyPr/>
                    <a:lstStyle/>
                    <a:p>
                      <a:pPr>
                        <a:lnSpc>
                          <a:spcPct val="115000"/>
                        </a:lnSpc>
                        <a:spcBef>
                          <a:spcPts val="800"/>
                        </a:spcBef>
                        <a:spcAft>
                          <a:spcPts val="0"/>
                        </a:spcAft>
                      </a:pPr>
                      <a:r>
                        <a:rPr lang="en-US" sz="1200" dirty="0">
                          <a:effectLst/>
                        </a:rPr>
                        <a:t>FNMS Application Server</a:t>
                      </a:r>
                      <a:endParaRPr lang="en-AU" sz="1200" dirty="0">
                        <a:effectLst/>
                        <a:latin typeface="+mn-lt"/>
                        <a:ea typeface="Calibri"/>
                        <a:cs typeface="Times New Roman"/>
                      </a:endParaRPr>
                    </a:p>
                  </a:txBody>
                  <a:tcPr marL="68580" marR="68580" marT="0" marB="0"/>
                </a:tc>
                <a:tc>
                  <a:txBody>
                    <a:bodyPr/>
                    <a:lstStyle/>
                    <a:p>
                      <a:pPr marL="252000" indent="-285750">
                        <a:lnSpc>
                          <a:spcPct val="115000"/>
                        </a:lnSpc>
                        <a:spcBef>
                          <a:spcPts val="0"/>
                        </a:spcBef>
                        <a:spcAft>
                          <a:spcPts val="0"/>
                        </a:spcAft>
                        <a:buFont typeface="Arial" panose="020B0604020202020204" pitchFamily="34" charset="0"/>
                        <a:buChar char="•"/>
                      </a:pPr>
                      <a:r>
                        <a:rPr lang="en-US" sz="1200" dirty="0">
                          <a:effectLst/>
                        </a:rPr>
                        <a:t>Standard Server Operating System</a:t>
                      </a:r>
                    </a:p>
                    <a:p>
                      <a:pPr marL="252000" indent="-285750">
                        <a:lnSpc>
                          <a:spcPct val="115000"/>
                        </a:lnSpc>
                        <a:spcBef>
                          <a:spcPts val="0"/>
                        </a:spcBef>
                        <a:spcAft>
                          <a:spcPts val="0"/>
                        </a:spcAft>
                        <a:buFont typeface="Arial" panose="020B0604020202020204" pitchFamily="34" charset="0"/>
                        <a:buChar char="•"/>
                      </a:pPr>
                      <a:r>
                        <a:rPr lang="en-US" sz="1200" dirty="0">
                          <a:effectLst/>
                        </a:rPr>
                        <a:t>Server Location</a:t>
                      </a:r>
                    </a:p>
                    <a:p>
                      <a:pPr marL="252000" indent="-285750">
                        <a:lnSpc>
                          <a:spcPct val="115000"/>
                        </a:lnSpc>
                        <a:spcBef>
                          <a:spcPts val="0"/>
                        </a:spcBef>
                        <a:spcAft>
                          <a:spcPts val="0"/>
                        </a:spcAft>
                        <a:buFont typeface="Arial" panose="020B0604020202020204" pitchFamily="34" charset="0"/>
                        <a:buChar char="•"/>
                      </a:pPr>
                      <a:r>
                        <a:rPr lang="en-US" sz="1200" dirty="0">
                          <a:effectLst/>
                        </a:rPr>
                        <a:t>How requirements may differ for each environment</a:t>
                      </a:r>
                    </a:p>
                    <a:p>
                      <a:pPr marL="252000" indent="-285750">
                        <a:lnSpc>
                          <a:spcPct val="115000"/>
                        </a:lnSpc>
                        <a:spcBef>
                          <a:spcPts val="0"/>
                        </a:spcBef>
                        <a:spcAft>
                          <a:spcPts val="0"/>
                        </a:spcAft>
                        <a:buFont typeface="Arial" panose="020B0604020202020204" pitchFamily="34" charset="0"/>
                        <a:buChar char="•"/>
                      </a:pPr>
                      <a:r>
                        <a:rPr lang="en-US" sz="1200" dirty="0">
                          <a:effectLst/>
                        </a:rPr>
                        <a:t>Hosted in domain</a:t>
                      </a:r>
                      <a:endParaRPr lang="en-US" sz="1200" dirty="0">
                        <a:effectLst/>
                        <a:latin typeface="+mn-lt"/>
                        <a:ea typeface="Calibri"/>
                        <a:cs typeface="Times New Roman"/>
                      </a:endParaRPr>
                    </a:p>
                  </a:txBody>
                  <a:tcPr marL="68580" marR="68580" marT="0" marB="0"/>
                </a:tc>
                <a:extLst>
                  <a:ext uri="{0D108BD9-81ED-4DB2-BD59-A6C34878D82A}">
                    <a16:rowId xmlns:a16="http://schemas.microsoft.com/office/drawing/2014/main" val="10002"/>
                  </a:ext>
                </a:extLst>
              </a:tr>
              <a:tr h="394586">
                <a:tc>
                  <a:txBody>
                    <a:bodyPr/>
                    <a:lstStyle/>
                    <a:p>
                      <a:pPr>
                        <a:lnSpc>
                          <a:spcPct val="115000"/>
                        </a:lnSpc>
                        <a:spcBef>
                          <a:spcPts val="800"/>
                        </a:spcBef>
                        <a:spcAft>
                          <a:spcPts val="0"/>
                        </a:spcAft>
                      </a:pPr>
                      <a:r>
                        <a:rPr lang="en-US" sz="1200" dirty="0">
                          <a:effectLst/>
                        </a:rPr>
                        <a:t>FNMS Database Server</a:t>
                      </a:r>
                      <a:endParaRPr lang="en-AU" sz="1200" dirty="0">
                        <a:effectLst/>
                        <a:latin typeface="+mn-lt"/>
                        <a:ea typeface="Calibri"/>
                        <a:cs typeface="Times New Roman"/>
                      </a:endParaRPr>
                    </a:p>
                  </a:txBody>
                  <a:tcPr marL="68580" marR="68580" marT="0" marB="0"/>
                </a:tc>
                <a:tc>
                  <a:txBody>
                    <a:bodyPr/>
                    <a:lstStyle/>
                    <a:p>
                      <a:pPr>
                        <a:lnSpc>
                          <a:spcPct val="115000"/>
                        </a:lnSpc>
                        <a:spcBef>
                          <a:spcPts val="800"/>
                        </a:spcBef>
                        <a:spcAft>
                          <a:spcPts val="0"/>
                        </a:spcAft>
                      </a:pPr>
                      <a:endParaRPr lang="en-AU" sz="1200" dirty="0">
                        <a:effectLst/>
                        <a:latin typeface="+mn-lt"/>
                        <a:ea typeface="Calibri"/>
                        <a:cs typeface="Times New Roman"/>
                      </a:endParaRPr>
                    </a:p>
                  </a:txBody>
                  <a:tcPr marL="68580" marR="68580" marT="0" marB="0"/>
                </a:tc>
                <a:extLst>
                  <a:ext uri="{0D108BD9-81ED-4DB2-BD59-A6C34878D82A}">
                    <a16:rowId xmlns:a16="http://schemas.microsoft.com/office/drawing/2014/main" val="10004"/>
                  </a:ext>
                </a:extLst>
              </a:tr>
              <a:tr h="394586">
                <a:tc>
                  <a:txBody>
                    <a:bodyPr/>
                    <a:lstStyle/>
                    <a:p>
                      <a:pPr>
                        <a:lnSpc>
                          <a:spcPct val="115000"/>
                        </a:lnSpc>
                        <a:spcBef>
                          <a:spcPts val="800"/>
                        </a:spcBef>
                        <a:spcAft>
                          <a:spcPts val="0"/>
                        </a:spcAft>
                      </a:pPr>
                      <a:r>
                        <a:rPr lang="en-US" sz="1200" dirty="0">
                          <a:effectLst/>
                        </a:rPr>
                        <a:t>FNMS Inventory Beacon</a:t>
                      </a:r>
                      <a:endParaRPr lang="en-AU" sz="1200" dirty="0">
                        <a:effectLst/>
                        <a:latin typeface="+mn-lt"/>
                        <a:ea typeface="Calibri"/>
                        <a:cs typeface="Times New Roman"/>
                      </a:endParaRPr>
                    </a:p>
                  </a:txBody>
                  <a:tcPr marL="68580" marR="68580" marT="0" marB="0"/>
                </a:tc>
                <a:tc>
                  <a:txBody>
                    <a:bodyPr/>
                    <a:lstStyle/>
                    <a:p>
                      <a:pPr>
                        <a:lnSpc>
                          <a:spcPct val="115000"/>
                        </a:lnSpc>
                        <a:spcBef>
                          <a:spcPts val="800"/>
                        </a:spcBef>
                        <a:spcAft>
                          <a:spcPts val="0"/>
                        </a:spcAft>
                      </a:pPr>
                      <a:endParaRPr lang="en-AU" sz="1200" dirty="0">
                        <a:effectLst/>
                        <a:latin typeface="+mn-lt"/>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757949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2299448" y="118927"/>
            <a:ext cx="5022476" cy="476147"/>
          </a:xfrm>
        </p:spPr>
        <p:txBody>
          <a:bodyPr/>
          <a:lstStyle/>
          <a:p>
            <a:pPr algn="l"/>
            <a:r>
              <a:rPr lang="en-GB" dirty="0"/>
              <a:t>Disaster Recover Architecture</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72316" y="118927"/>
            <a:ext cx="788438" cy="788438"/>
          </a:xfrm>
          <a:prstGeom prst="rect">
            <a:avLst/>
          </a:prstGeom>
        </p:spPr>
      </p:pic>
      <p:sp>
        <p:nvSpPr>
          <p:cNvPr id="12" name="Rectangle 11">
            <a:extLst>
              <a:ext uri="{FF2B5EF4-FFF2-40B4-BE49-F238E27FC236}">
                <a16:creationId xmlns:a16="http://schemas.microsoft.com/office/drawing/2014/main" id="{9F1DCA6C-B528-433C-81A1-E904716E67C6}"/>
              </a:ext>
            </a:extLst>
          </p:cNvPr>
          <p:cNvSpPr/>
          <p:nvPr/>
        </p:nvSpPr>
        <p:spPr>
          <a:xfrm>
            <a:off x="2694144" y="4647672"/>
            <a:ext cx="2254571" cy="300082"/>
          </a:xfrm>
          <a:prstGeom prst="rect">
            <a:avLst/>
          </a:prstGeom>
        </p:spPr>
        <p:txBody>
          <a:bodyPr wrap="square">
            <a:spAutoFit/>
          </a:bodyPr>
          <a:lstStyle/>
          <a:p>
            <a:r>
              <a:rPr lang="en-AU" dirty="0">
                <a:solidFill>
                  <a:srgbClr val="FF0000"/>
                </a:solidFill>
              </a:rPr>
              <a:t>Edit and add additional other types of external systems </a:t>
            </a:r>
          </a:p>
          <a:p>
            <a:r>
              <a:rPr lang="en-AU" dirty="0">
                <a:solidFill>
                  <a:srgbClr val="FF0000"/>
                </a:solidFill>
              </a:rPr>
              <a:t>if applicable (e.g. App Portal)</a:t>
            </a:r>
          </a:p>
        </p:txBody>
      </p:sp>
      <p:graphicFrame>
        <p:nvGraphicFramePr>
          <p:cNvPr id="3" name="Object 2">
            <a:extLst>
              <a:ext uri="{FF2B5EF4-FFF2-40B4-BE49-F238E27FC236}">
                <a16:creationId xmlns:a16="http://schemas.microsoft.com/office/drawing/2014/main" id="{0FFA03B5-FBC6-4C64-A551-A381200AFE19}"/>
              </a:ext>
            </a:extLst>
          </p:cNvPr>
          <p:cNvGraphicFramePr>
            <a:graphicFrameLocks noChangeAspect="1"/>
          </p:cNvGraphicFramePr>
          <p:nvPr>
            <p:extLst>
              <p:ext uri="{D42A27DB-BD31-4B8C-83A1-F6EECF244321}">
                <p14:modId xmlns:p14="http://schemas.microsoft.com/office/powerpoint/2010/main" val="3530226143"/>
              </p:ext>
            </p:extLst>
          </p:nvPr>
        </p:nvGraphicFramePr>
        <p:xfrm>
          <a:off x="1619660" y="1195780"/>
          <a:ext cx="5419495" cy="3022537"/>
        </p:xfrm>
        <a:graphic>
          <a:graphicData uri="http://schemas.openxmlformats.org/presentationml/2006/ole">
            <mc:AlternateContent xmlns:mc="http://schemas.openxmlformats.org/markup-compatibility/2006">
              <mc:Choice xmlns:v="urn:schemas-microsoft-com:vml" Requires="v">
                <p:oleObj spid="_x0000_s8229" name="Visio" r:id="rId7" imgW="7838853" imgH="4371975" progId="Visio.Drawing.15">
                  <p:embed/>
                </p:oleObj>
              </mc:Choice>
              <mc:Fallback>
                <p:oleObj name="Visio" r:id="rId7" imgW="7838853" imgH="4371975" progId="Visio.Drawing.15">
                  <p:embed/>
                  <p:pic>
                    <p:nvPicPr>
                      <p:cNvPr id="0" name=""/>
                      <p:cNvPicPr/>
                      <p:nvPr/>
                    </p:nvPicPr>
                    <p:blipFill>
                      <a:blip r:embed="rId8"/>
                      <a:stretch>
                        <a:fillRect/>
                      </a:stretch>
                    </p:blipFill>
                    <p:spPr>
                      <a:xfrm>
                        <a:off x="1619660" y="1195780"/>
                        <a:ext cx="5419495" cy="3022537"/>
                      </a:xfrm>
                      <a:prstGeom prst="rect">
                        <a:avLst/>
                      </a:prstGeom>
                    </p:spPr>
                  </p:pic>
                </p:oleObj>
              </mc:Fallback>
            </mc:AlternateContent>
          </a:graphicData>
        </a:graphic>
      </p:graphicFrame>
    </p:spTree>
    <p:extLst>
      <p:ext uri="{BB962C8B-B14F-4D97-AF65-F5344CB8AC3E}">
        <p14:creationId xmlns:p14="http://schemas.microsoft.com/office/powerpoint/2010/main" val="23088036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31F00-A60D-4A86-8D59-B7E52CBEE6FC}"/>
              </a:ext>
            </a:extLst>
          </p:cNvPr>
          <p:cNvSpPr>
            <a:spLocks noGrp="1"/>
          </p:cNvSpPr>
          <p:nvPr>
            <p:ph type="title"/>
          </p:nvPr>
        </p:nvSpPr>
        <p:spPr>
          <a:xfrm>
            <a:off x="687679" y="259106"/>
            <a:ext cx="7767215" cy="476147"/>
          </a:xfrm>
        </p:spPr>
        <p:txBody>
          <a:bodyPr/>
          <a:lstStyle/>
          <a:p>
            <a:r>
              <a:rPr lang="en-US" sz="2400" dirty="0">
                <a:solidFill>
                  <a:srgbClr val="FF6A4C"/>
                </a:solidFill>
              </a:rPr>
              <a:t>Workshop Welcome and Objectives</a:t>
            </a:r>
          </a:p>
        </p:txBody>
      </p:sp>
      <p:sp>
        <p:nvSpPr>
          <p:cNvPr id="11" name="Text Placeholder 9">
            <a:extLst>
              <a:ext uri="{FF2B5EF4-FFF2-40B4-BE49-F238E27FC236}">
                <a16:creationId xmlns:a16="http://schemas.microsoft.com/office/drawing/2014/main" id="{C27620C3-C56F-4599-AA0A-82B182B1FF6F}"/>
              </a:ext>
            </a:extLst>
          </p:cNvPr>
          <p:cNvSpPr txBox="1">
            <a:spLocks/>
          </p:cNvSpPr>
          <p:nvPr/>
        </p:nvSpPr>
        <p:spPr>
          <a:xfrm>
            <a:off x="5754811" y="1182682"/>
            <a:ext cx="2550987" cy="424732"/>
          </a:xfrm>
          <a:prstGeom prst="rect">
            <a:avLst/>
          </a:prstGeom>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en-US" sz="1200" b="1" dirty="0">
                <a:solidFill>
                  <a:schemeClr val="accent2">
                    <a:lumMod val="90000"/>
                    <a:lumOff val="10000"/>
                  </a:schemeClr>
                </a:solidFill>
                <a:ea typeface="Geneva"/>
                <a:cs typeface="Geneva"/>
              </a:rPr>
              <a:t>Understand and confirm the overall solution requirements for the project</a:t>
            </a:r>
          </a:p>
        </p:txBody>
      </p:sp>
      <p:pic>
        <p:nvPicPr>
          <p:cNvPr id="12" name="Graphic 11">
            <a:extLst>
              <a:ext uri="{FF2B5EF4-FFF2-40B4-BE49-F238E27FC236}">
                <a16:creationId xmlns:a16="http://schemas.microsoft.com/office/drawing/2014/main" id="{CBA32BE4-5BBB-4122-AFB4-A18CCE55E02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116984" y="1172461"/>
            <a:ext cx="476147" cy="476147"/>
          </a:xfrm>
          <a:prstGeom prst="rect">
            <a:avLst/>
          </a:prstGeom>
        </p:spPr>
      </p:pic>
      <p:sp>
        <p:nvSpPr>
          <p:cNvPr id="13" name="Text Placeholder 9">
            <a:extLst>
              <a:ext uri="{FF2B5EF4-FFF2-40B4-BE49-F238E27FC236}">
                <a16:creationId xmlns:a16="http://schemas.microsoft.com/office/drawing/2014/main" id="{3018D600-5201-4B19-BAEC-38A0A500BEDC}"/>
              </a:ext>
            </a:extLst>
          </p:cNvPr>
          <p:cNvSpPr txBox="1">
            <a:spLocks/>
          </p:cNvSpPr>
          <p:nvPr/>
        </p:nvSpPr>
        <p:spPr>
          <a:xfrm>
            <a:off x="5786618" y="1728917"/>
            <a:ext cx="2550987" cy="424732"/>
          </a:xfrm>
          <a:prstGeom prst="rect">
            <a:avLst/>
          </a:prstGeom>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600"/>
              </a:spcBef>
              <a:buClr>
                <a:srgbClr val="D7071E"/>
              </a:buClr>
              <a:buNone/>
              <a:defRPr/>
            </a:pPr>
            <a:r>
              <a:rPr lang="en-US" sz="1200" b="1" dirty="0">
                <a:solidFill>
                  <a:srgbClr val="073B45"/>
                </a:solidFill>
              </a:rPr>
              <a:t>Establish the FNMS high level solution architecture</a:t>
            </a:r>
            <a:endParaRPr lang="en-AU" sz="1200" b="1" dirty="0">
              <a:solidFill>
                <a:srgbClr val="073B45"/>
              </a:solidFill>
            </a:endParaRPr>
          </a:p>
        </p:txBody>
      </p:sp>
      <p:pic>
        <p:nvPicPr>
          <p:cNvPr id="14" name="Graphic 13">
            <a:extLst>
              <a:ext uri="{FF2B5EF4-FFF2-40B4-BE49-F238E27FC236}">
                <a16:creationId xmlns:a16="http://schemas.microsoft.com/office/drawing/2014/main" id="{B2DC965B-61FF-40D4-9CCD-A1682417EF9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116984" y="1713348"/>
            <a:ext cx="476147" cy="476147"/>
          </a:xfrm>
          <a:prstGeom prst="rect">
            <a:avLst/>
          </a:prstGeom>
        </p:spPr>
      </p:pic>
      <p:sp>
        <p:nvSpPr>
          <p:cNvPr id="15" name="Text Placeholder 9">
            <a:extLst>
              <a:ext uri="{FF2B5EF4-FFF2-40B4-BE49-F238E27FC236}">
                <a16:creationId xmlns:a16="http://schemas.microsoft.com/office/drawing/2014/main" id="{F484CC3A-6800-42C6-9467-ACAC79121F57}"/>
              </a:ext>
            </a:extLst>
          </p:cNvPr>
          <p:cNvSpPr txBox="1">
            <a:spLocks/>
          </p:cNvSpPr>
          <p:nvPr/>
        </p:nvSpPr>
        <p:spPr>
          <a:xfrm>
            <a:off x="5786618" y="3195109"/>
            <a:ext cx="2849437" cy="590931"/>
          </a:xfrm>
          <a:prstGeom prst="rect">
            <a:avLst/>
          </a:prstGeom>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Clr>
                <a:srgbClr val="D7071E"/>
              </a:buClr>
              <a:buNone/>
              <a:defRPr/>
            </a:pPr>
            <a:r>
              <a:rPr lang="en-AU" sz="1200" b="1" dirty="0">
                <a:solidFill>
                  <a:srgbClr val="073B45"/>
                </a:solidFill>
              </a:rPr>
              <a:t>Agree on project governance and progress reporting practices to be adopted for the duration of the project</a:t>
            </a:r>
          </a:p>
        </p:txBody>
      </p:sp>
      <p:pic>
        <p:nvPicPr>
          <p:cNvPr id="16" name="Graphic 15">
            <a:extLst>
              <a:ext uri="{FF2B5EF4-FFF2-40B4-BE49-F238E27FC236}">
                <a16:creationId xmlns:a16="http://schemas.microsoft.com/office/drawing/2014/main" id="{038DB21C-55DC-4A17-BF6A-9CC6D484729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16982" y="3226793"/>
            <a:ext cx="476147" cy="476147"/>
          </a:xfrm>
          <a:prstGeom prst="rect">
            <a:avLst/>
          </a:prstGeom>
        </p:spPr>
      </p:pic>
      <p:sp>
        <p:nvSpPr>
          <p:cNvPr id="17" name="Text Placeholder 9">
            <a:extLst>
              <a:ext uri="{FF2B5EF4-FFF2-40B4-BE49-F238E27FC236}">
                <a16:creationId xmlns:a16="http://schemas.microsoft.com/office/drawing/2014/main" id="{7AF4E27A-5F10-484C-AD99-E22F4A734C04}"/>
              </a:ext>
            </a:extLst>
          </p:cNvPr>
          <p:cNvSpPr txBox="1">
            <a:spLocks/>
          </p:cNvSpPr>
          <p:nvPr/>
        </p:nvSpPr>
        <p:spPr>
          <a:xfrm>
            <a:off x="5786618" y="2429743"/>
            <a:ext cx="2550987" cy="590931"/>
          </a:xfrm>
          <a:prstGeom prst="rect">
            <a:avLst/>
          </a:prstGeom>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Clr>
                <a:srgbClr val="D7071E"/>
              </a:buClr>
              <a:buNone/>
              <a:defRPr/>
            </a:pPr>
            <a:r>
              <a:rPr lang="en-US" sz="1200" b="1" dirty="0">
                <a:solidFill>
                  <a:srgbClr val="073B45"/>
                </a:solidFill>
              </a:rPr>
              <a:t>Identify dependencies between FNMS and other systems and processes in the organization</a:t>
            </a:r>
            <a:endParaRPr lang="en-AU" sz="1200" b="1" dirty="0">
              <a:solidFill>
                <a:srgbClr val="073B45"/>
              </a:solidFill>
            </a:endParaRPr>
          </a:p>
        </p:txBody>
      </p:sp>
      <p:pic>
        <p:nvPicPr>
          <p:cNvPr id="18" name="Graphic 17">
            <a:extLst>
              <a:ext uri="{FF2B5EF4-FFF2-40B4-BE49-F238E27FC236}">
                <a16:creationId xmlns:a16="http://schemas.microsoft.com/office/drawing/2014/main" id="{80A468C4-3601-488F-953C-E8939865604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116983" y="2483776"/>
            <a:ext cx="476147" cy="476147"/>
          </a:xfrm>
          <a:prstGeom prst="rect">
            <a:avLst/>
          </a:prstGeom>
        </p:spPr>
      </p:pic>
      <p:sp>
        <p:nvSpPr>
          <p:cNvPr id="19" name="Text Placeholder 9">
            <a:extLst>
              <a:ext uri="{FF2B5EF4-FFF2-40B4-BE49-F238E27FC236}">
                <a16:creationId xmlns:a16="http://schemas.microsoft.com/office/drawing/2014/main" id="{7A51138B-E22F-4175-B936-86869935BC82}"/>
              </a:ext>
            </a:extLst>
          </p:cNvPr>
          <p:cNvSpPr txBox="1">
            <a:spLocks/>
          </p:cNvSpPr>
          <p:nvPr/>
        </p:nvSpPr>
        <p:spPr>
          <a:xfrm>
            <a:off x="640185" y="1172461"/>
            <a:ext cx="3507864" cy="1993366"/>
          </a:xfrm>
          <a:prstGeom prst="rect">
            <a:avLst/>
          </a:prstGeom>
        </p:spPr>
        <p:txBody>
          <a:bodyPr wrap="square"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fontAlgn="base">
              <a:buNone/>
            </a:pPr>
            <a:r>
              <a:rPr lang="en-AU" sz="1600" dirty="0">
                <a:solidFill>
                  <a:srgbClr val="04242D"/>
                </a:solidFill>
              </a:rPr>
              <a:t>Welcome to the SAM Project Kick-Off Workshop. </a:t>
            </a:r>
          </a:p>
          <a:p>
            <a:pPr marL="0" indent="0" algn="r" fontAlgn="base">
              <a:buNone/>
            </a:pPr>
            <a:r>
              <a:rPr lang="en-AU" sz="1600" dirty="0">
                <a:solidFill>
                  <a:srgbClr val="04242D"/>
                </a:solidFill>
              </a:rPr>
              <a:t>Today we are going to reconfirm the outcomes we want from this SAM enablement project, identify the systems and people resources we  need, and agree on an initial timeline for delivery    </a:t>
            </a:r>
            <a:endParaRPr lang="en-AU" sz="1600" b="1" dirty="0">
              <a:solidFill>
                <a:srgbClr val="04242D"/>
              </a:solidFill>
              <a:latin typeface="opensanslight"/>
            </a:endParaRPr>
          </a:p>
        </p:txBody>
      </p:sp>
      <p:pic>
        <p:nvPicPr>
          <p:cNvPr id="20" name="Picture 19">
            <a:extLst>
              <a:ext uri="{FF2B5EF4-FFF2-40B4-BE49-F238E27FC236}">
                <a16:creationId xmlns:a16="http://schemas.microsoft.com/office/drawing/2014/main" id="{6433E5C4-8846-4578-A0A7-3E73D04252D9}"/>
              </a:ext>
            </a:extLst>
          </p:cNvPr>
          <p:cNvPicPr>
            <a:picLocks noChangeAspect="1"/>
          </p:cNvPicPr>
          <p:nvPr/>
        </p:nvPicPr>
        <p:blipFill>
          <a:blip r:embed="rId10"/>
          <a:stretch>
            <a:fillRect/>
          </a:stretch>
        </p:blipFill>
        <p:spPr>
          <a:xfrm flipH="1">
            <a:off x="-3" y="2587503"/>
            <a:ext cx="2249716" cy="2555995"/>
          </a:xfrm>
          <a:prstGeom prst="rect">
            <a:avLst/>
          </a:prstGeom>
        </p:spPr>
      </p:pic>
      <p:pic>
        <p:nvPicPr>
          <p:cNvPr id="21" name="Picture 20" descr="A picture containing drawing&#10;&#10;Description automatically generated">
            <a:extLst>
              <a:ext uri="{FF2B5EF4-FFF2-40B4-BE49-F238E27FC236}">
                <a16:creationId xmlns:a16="http://schemas.microsoft.com/office/drawing/2014/main" id="{F29FA455-19DF-4FAB-98EF-7C2B4BCE64D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15283" y="4753457"/>
            <a:ext cx="723900" cy="238404"/>
          </a:xfrm>
          <a:prstGeom prst="rect">
            <a:avLst/>
          </a:prstGeom>
        </p:spPr>
      </p:pic>
      <p:pic>
        <p:nvPicPr>
          <p:cNvPr id="22" name="Picture Placeholder 9">
            <a:extLst>
              <a:ext uri="{FF2B5EF4-FFF2-40B4-BE49-F238E27FC236}">
                <a16:creationId xmlns:a16="http://schemas.microsoft.com/office/drawing/2014/main" id="{DC9495C1-C416-4C77-B2E5-0041BE2ABED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l="192" r="192"/>
          <a:stretch>
            <a:fillRect/>
          </a:stretch>
        </p:blipFill>
        <p:spPr>
          <a:xfrm>
            <a:off x="8106535" y="209503"/>
            <a:ext cx="720000" cy="722711"/>
          </a:xfrm>
          <a:prstGeom prst="rect">
            <a:avLst/>
          </a:prstGeom>
        </p:spPr>
      </p:pic>
    </p:spTree>
    <p:extLst>
      <p:ext uri="{BB962C8B-B14F-4D97-AF65-F5344CB8AC3E}">
        <p14:creationId xmlns:p14="http://schemas.microsoft.com/office/powerpoint/2010/main" val="7812910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Enterprise Groups</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72316" y="118927"/>
            <a:ext cx="788438" cy="788438"/>
          </a:xfrm>
          <a:prstGeom prst="rect">
            <a:avLst/>
          </a:prstGeom>
        </p:spPr>
      </p:pic>
      <p:sp>
        <p:nvSpPr>
          <p:cNvPr id="9" name="Content Placeholder 2">
            <a:extLst>
              <a:ext uri="{FF2B5EF4-FFF2-40B4-BE49-F238E27FC236}">
                <a16:creationId xmlns:a16="http://schemas.microsoft.com/office/drawing/2014/main" id="{7408D4FD-5CD6-4A1E-B8E9-BDCA357E5035}"/>
              </a:ext>
            </a:extLst>
          </p:cNvPr>
          <p:cNvSpPr txBox="1">
            <a:spLocks/>
          </p:cNvSpPr>
          <p:nvPr/>
        </p:nvSpPr>
        <p:spPr>
          <a:xfrm>
            <a:off x="360975" y="1175826"/>
            <a:ext cx="5638800" cy="3231357"/>
          </a:xfrm>
          <a:prstGeom prst="rect">
            <a:avLst/>
          </a:prstGeom>
        </p:spPr>
        <p:txBody>
          <a:bodyPr>
            <a:normAutofit lnSpcReduction="10000"/>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200"/>
              </a:spcBef>
              <a:spcAft>
                <a:spcPts val="200"/>
              </a:spcAft>
            </a:pPr>
            <a:r>
              <a:rPr lang="en-AU" sz="1200" b="1" dirty="0"/>
              <a:t>Hierarchy (tree) structure representing</a:t>
            </a:r>
          </a:p>
          <a:p>
            <a:pPr lvl="1">
              <a:lnSpc>
                <a:spcPct val="100000"/>
              </a:lnSpc>
              <a:spcBef>
                <a:spcPts val="200"/>
              </a:spcBef>
              <a:spcAft>
                <a:spcPts val="200"/>
              </a:spcAft>
            </a:pPr>
            <a:r>
              <a:rPr lang="en-AU" dirty="0"/>
              <a:t>Locations</a:t>
            </a:r>
          </a:p>
          <a:p>
            <a:pPr lvl="1">
              <a:lnSpc>
                <a:spcPct val="100000"/>
              </a:lnSpc>
              <a:spcBef>
                <a:spcPts val="200"/>
              </a:spcBef>
              <a:spcAft>
                <a:spcPts val="200"/>
              </a:spcAft>
            </a:pPr>
            <a:r>
              <a:rPr lang="en-AU" dirty="0"/>
              <a:t>Cost centers</a:t>
            </a:r>
          </a:p>
          <a:p>
            <a:pPr lvl="1">
              <a:lnSpc>
                <a:spcPct val="100000"/>
              </a:lnSpc>
              <a:spcBef>
                <a:spcPts val="200"/>
              </a:spcBef>
              <a:spcAft>
                <a:spcPts val="200"/>
              </a:spcAft>
            </a:pPr>
            <a:r>
              <a:rPr lang="en-AU" dirty="0"/>
              <a:t>Corporate (business) units</a:t>
            </a:r>
          </a:p>
          <a:p>
            <a:pPr lvl="1">
              <a:lnSpc>
                <a:spcPct val="100000"/>
              </a:lnSpc>
              <a:spcBef>
                <a:spcPts val="200"/>
              </a:spcBef>
              <a:spcAft>
                <a:spcPts val="200"/>
              </a:spcAft>
            </a:pPr>
            <a:endParaRPr lang="en-AU" dirty="0"/>
          </a:p>
          <a:p>
            <a:pPr>
              <a:lnSpc>
                <a:spcPct val="100000"/>
              </a:lnSpc>
              <a:spcBef>
                <a:spcPts val="200"/>
              </a:spcBef>
              <a:spcAft>
                <a:spcPts val="200"/>
              </a:spcAft>
            </a:pPr>
            <a:r>
              <a:rPr lang="en-AU" sz="1200" b="1" dirty="0"/>
              <a:t>Useful for grouping and managing other records; for example:</a:t>
            </a:r>
          </a:p>
          <a:p>
            <a:pPr lvl="1">
              <a:lnSpc>
                <a:spcPct val="100000"/>
              </a:lnSpc>
              <a:spcBef>
                <a:spcPts val="200"/>
              </a:spcBef>
              <a:spcAft>
                <a:spcPts val="200"/>
              </a:spcAft>
            </a:pPr>
            <a:r>
              <a:rPr lang="en-AU" dirty="0"/>
              <a:t>Licenses may be scoped to only apply to individual locations</a:t>
            </a:r>
          </a:p>
          <a:p>
            <a:pPr lvl="1">
              <a:lnSpc>
                <a:spcPct val="100000"/>
              </a:lnSpc>
              <a:spcBef>
                <a:spcPts val="200"/>
              </a:spcBef>
              <a:spcAft>
                <a:spcPts val="200"/>
              </a:spcAft>
            </a:pPr>
            <a:r>
              <a:rPr lang="en-AU" dirty="0"/>
              <a:t>Access rights may be configured so a user can only see data for a particular corporate unit</a:t>
            </a:r>
          </a:p>
          <a:p>
            <a:pPr lvl="1">
              <a:lnSpc>
                <a:spcPct val="100000"/>
              </a:lnSpc>
              <a:spcBef>
                <a:spcPts val="200"/>
              </a:spcBef>
              <a:spcAft>
                <a:spcPts val="200"/>
              </a:spcAft>
            </a:pPr>
            <a:r>
              <a:rPr lang="en-AU" dirty="0"/>
              <a:t>Hardware assets may be assigned to cost centers to support chargeback analysis</a:t>
            </a:r>
          </a:p>
          <a:p>
            <a:pPr marL="428625" lvl="1" indent="0">
              <a:lnSpc>
                <a:spcPct val="100000"/>
              </a:lnSpc>
              <a:spcBef>
                <a:spcPts val="200"/>
              </a:spcBef>
              <a:spcAft>
                <a:spcPts val="200"/>
              </a:spcAft>
              <a:buFont typeface="Arial" panose="020B0604020202020204" pitchFamily="34" charset="0"/>
              <a:buNone/>
            </a:pPr>
            <a:endParaRPr lang="en-AU" dirty="0"/>
          </a:p>
          <a:p>
            <a:pPr>
              <a:lnSpc>
                <a:spcPct val="100000"/>
              </a:lnSpc>
              <a:spcBef>
                <a:spcPts val="200"/>
              </a:spcBef>
              <a:spcAft>
                <a:spcPts val="200"/>
              </a:spcAft>
            </a:pPr>
            <a:r>
              <a:rPr lang="en-AU" sz="1200" b="1" dirty="0">
                <a:solidFill>
                  <a:schemeClr val="accent5">
                    <a:lumMod val="75000"/>
                  </a:schemeClr>
                </a:solidFill>
              </a:rPr>
              <a:t>Discuss: How might these structures be modelled for your organization?</a:t>
            </a:r>
          </a:p>
          <a:p>
            <a:pPr lvl="1">
              <a:lnSpc>
                <a:spcPct val="100000"/>
              </a:lnSpc>
              <a:spcBef>
                <a:spcPts val="200"/>
              </a:spcBef>
              <a:spcAft>
                <a:spcPts val="200"/>
              </a:spcAft>
            </a:pPr>
            <a:r>
              <a:rPr lang="en-AU" dirty="0">
                <a:solidFill>
                  <a:schemeClr val="accent5">
                    <a:lumMod val="75000"/>
                  </a:schemeClr>
                </a:solidFill>
              </a:rPr>
              <a:t>Where is data for these models available?</a:t>
            </a:r>
          </a:p>
          <a:p>
            <a:pPr lvl="1">
              <a:lnSpc>
                <a:spcPct val="100000"/>
              </a:lnSpc>
              <a:spcBef>
                <a:spcPts val="200"/>
              </a:spcBef>
              <a:spcAft>
                <a:spcPts val="200"/>
              </a:spcAft>
            </a:pPr>
            <a:r>
              <a:rPr lang="en-US" dirty="0">
                <a:solidFill>
                  <a:schemeClr val="accent5">
                    <a:lumMod val="75000"/>
                  </a:schemeClr>
                </a:solidFill>
              </a:rPr>
              <a:t>What data associate's computers &amp; users to groups?</a:t>
            </a:r>
            <a:endParaRPr lang="en-AU" dirty="0">
              <a:solidFill>
                <a:schemeClr val="accent5">
                  <a:lumMod val="75000"/>
                </a:schemeClr>
              </a:solidFill>
            </a:endParaRPr>
          </a:p>
        </p:txBody>
      </p:sp>
      <p:pic>
        <p:nvPicPr>
          <p:cNvPr id="12" name="Picture 11">
            <a:extLst>
              <a:ext uri="{FF2B5EF4-FFF2-40B4-BE49-F238E27FC236}">
                <a16:creationId xmlns:a16="http://schemas.microsoft.com/office/drawing/2014/main" id="{73611C23-468B-4D18-AA45-4AEE78E9C9C1}"/>
              </a:ext>
            </a:extLst>
          </p:cNvPr>
          <p:cNvPicPr>
            <a:picLocks noChangeAspect="1"/>
          </p:cNvPicPr>
          <p:nvPr/>
        </p:nvPicPr>
        <p:blipFill>
          <a:blip r:embed="rId7"/>
          <a:stretch>
            <a:fillRect/>
          </a:stretch>
        </p:blipFill>
        <p:spPr>
          <a:xfrm>
            <a:off x="5999775" y="1175826"/>
            <a:ext cx="1551052" cy="3231357"/>
          </a:xfrm>
          <a:prstGeom prst="rect">
            <a:avLst/>
          </a:prstGeom>
          <a:ln>
            <a:solidFill>
              <a:schemeClr val="tx1"/>
            </a:solidFill>
          </a:ln>
        </p:spPr>
      </p:pic>
    </p:spTree>
    <p:extLst>
      <p:ext uri="{BB962C8B-B14F-4D97-AF65-F5344CB8AC3E}">
        <p14:creationId xmlns:p14="http://schemas.microsoft.com/office/powerpoint/2010/main" val="3011564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10" end="1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11" end="1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xEl>
                                              <p:pRg st="12" end="12"/>
                                            </p:txEl>
                                          </p:spTgt>
                                        </p:tgtEl>
                                        <p:attrNameLst>
                                          <p:attrName>style.visibility</p:attrName>
                                        </p:attrNameLst>
                                      </p:cBhvr>
                                      <p:to>
                                        <p:strVal val="visible"/>
                                      </p:to>
                                    </p:set>
                                  </p:childTnLst>
                                </p:cTn>
                              </p:par>
                              <p:par>
                                <p:cTn id="11" presetID="19" presetClass="emph" presetSubtype="0" fill="hold" nodeType="withEffect">
                                  <p:stCondLst>
                                    <p:cond delay="0"/>
                                  </p:stCondLst>
                                  <p:childTnLst>
                                    <p:animClr clrSpc="rgb" dir="cw">
                                      <p:cBhvr override="childStyle">
                                        <p:cTn id="12" dur="500" fill="hold"/>
                                        <p:tgtEl>
                                          <p:spTgt spid="9">
                                            <p:txEl>
                                              <p:pRg st="0" end="0"/>
                                            </p:txEl>
                                          </p:spTgt>
                                        </p:tgtEl>
                                        <p:attrNameLst>
                                          <p:attrName>style.color</p:attrName>
                                        </p:attrNameLst>
                                      </p:cBhvr>
                                      <p:to>
                                        <a:srgbClr val="D8D8D8"/>
                                      </p:to>
                                    </p:animClr>
                                    <p:animClr clrSpc="rgb" dir="cw">
                                      <p:cBhvr>
                                        <p:cTn id="13" dur="500" fill="hold"/>
                                        <p:tgtEl>
                                          <p:spTgt spid="9">
                                            <p:txEl>
                                              <p:pRg st="0" end="0"/>
                                            </p:txEl>
                                          </p:spTgt>
                                        </p:tgtEl>
                                        <p:attrNameLst>
                                          <p:attrName>fillcolor</p:attrName>
                                        </p:attrNameLst>
                                      </p:cBhvr>
                                      <p:to>
                                        <a:srgbClr val="D8D8D8"/>
                                      </p:to>
                                    </p:animClr>
                                    <p:set>
                                      <p:cBhvr>
                                        <p:cTn id="14" dur="500" fill="hold"/>
                                        <p:tgtEl>
                                          <p:spTgt spid="9">
                                            <p:txEl>
                                              <p:pRg st="0" end="0"/>
                                            </p:txEl>
                                          </p:spTgt>
                                        </p:tgtEl>
                                        <p:attrNameLst>
                                          <p:attrName>fill.type</p:attrName>
                                        </p:attrNameLst>
                                      </p:cBhvr>
                                      <p:to>
                                        <p:strVal val="solid"/>
                                      </p:to>
                                    </p:set>
                                    <p:set>
                                      <p:cBhvr>
                                        <p:cTn id="15" dur="500" fill="hold"/>
                                        <p:tgtEl>
                                          <p:spTgt spid="9">
                                            <p:txEl>
                                              <p:pRg st="0" end="0"/>
                                            </p:txEl>
                                          </p:spTgt>
                                        </p:tgtEl>
                                        <p:attrNameLst>
                                          <p:attrName>fill.on</p:attrName>
                                        </p:attrNameLst>
                                      </p:cBhvr>
                                      <p:to>
                                        <p:strVal val="true"/>
                                      </p:to>
                                    </p:set>
                                  </p:childTnLst>
                                </p:cTn>
                              </p:par>
                              <p:par>
                                <p:cTn id="16" presetID="19" presetClass="emph" presetSubtype="0" fill="hold" nodeType="withEffect">
                                  <p:stCondLst>
                                    <p:cond delay="0"/>
                                  </p:stCondLst>
                                  <p:childTnLst>
                                    <p:animClr clrSpc="rgb" dir="cw">
                                      <p:cBhvr override="childStyle">
                                        <p:cTn id="17" dur="500" fill="hold"/>
                                        <p:tgtEl>
                                          <p:spTgt spid="9">
                                            <p:txEl>
                                              <p:pRg st="1" end="1"/>
                                            </p:txEl>
                                          </p:spTgt>
                                        </p:tgtEl>
                                        <p:attrNameLst>
                                          <p:attrName>style.color</p:attrName>
                                        </p:attrNameLst>
                                      </p:cBhvr>
                                      <p:to>
                                        <a:srgbClr val="D8D8D8"/>
                                      </p:to>
                                    </p:animClr>
                                    <p:animClr clrSpc="rgb" dir="cw">
                                      <p:cBhvr>
                                        <p:cTn id="18" dur="500" fill="hold"/>
                                        <p:tgtEl>
                                          <p:spTgt spid="9">
                                            <p:txEl>
                                              <p:pRg st="1" end="1"/>
                                            </p:txEl>
                                          </p:spTgt>
                                        </p:tgtEl>
                                        <p:attrNameLst>
                                          <p:attrName>fillcolor</p:attrName>
                                        </p:attrNameLst>
                                      </p:cBhvr>
                                      <p:to>
                                        <a:srgbClr val="D8D8D8"/>
                                      </p:to>
                                    </p:animClr>
                                    <p:set>
                                      <p:cBhvr>
                                        <p:cTn id="19" dur="500" fill="hold"/>
                                        <p:tgtEl>
                                          <p:spTgt spid="9">
                                            <p:txEl>
                                              <p:pRg st="1" end="1"/>
                                            </p:txEl>
                                          </p:spTgt>
                                        </p:tgtEl>
                                        <p:attrNameLst>
                                          <p:attrName>fill.type</p:attrName>
                                        </p:attrNameLst>
                                      </p:cBhvr>
                                      <p:to>
                                        <p:strVal val="solid"/>
                                      </p:to>
                                    </p:set>
                                    <p:set>
                                      <p:cBhvr>
                                        <p:cTn id="20" dur="500" fill="hold"/>
                                        <p:tgtEl>
                                          <p:spTgt spid="9">
                                            <p:txEl>
                                              <p:pRg st="1" end="1"/>
                                            </p:txEl>
                                          </p:spTgt>
                                        </p:tgtEl>
                                        <p:attrNameLst>
                                          <p:attrName>fill.on</p:attrName>
                                        </p:attrNameLst>
                                      </p:cBhvr>
                                      <p:to>
                                        <p:strVal val="true"/>
                                      </p:to>
                                    </p:set>
                                  </p:childTnLst>
                                </p:cTn>
                              </p:par>
                              <p:par>
                                <p:cTn id="21" presetID="19" presetClass="emph" presetSubtype="0" fill="hold" nodeType="withEffect">
                                  <p:stCondLst>
                                    <p:cond delay="0"/>
                                  </p:stCondLst>
                                  <p:childTnLst>
                                    <p:animClr clrSpc="rgb" dir="cw">
                                      <p:cBhvr override="childStyle">
                                        <p:cTn id="22" dur="500" fill="hold"/>
                                        <p:tgtEl>
                                          <p:spTgt spid="9">
                                            <p:txEl>
                                              <p:pRg st="2" end="2"/>
                                            </p:txEl>
                                          </p:spTgt>
                                        </p:tgtEl>
                                        <p:attrNameLst>
                                          <p:attrName>style.color</p:attrName>
                                        </p:attrNameLst>
                                      </p:cBhvr>
                                      <p:to>
                                        <a:srgbClr val="D8D8D8"/>
                                      </p:to>
                                    </p:animClr>
                                    <p:animClr clrSpc="rgb" dir="cw">
                                      <p:cBhvr>
                                        <p:cTn id="23" dur="500" fill="hold"/>
                                        <p:tgtEl>
                                          <p:spTgt spid="9">
                                            <p:txEl>
                                              <p:pRg st="2" end="2"/>
                                            </p:txEl>
                                          </p:spTgt>
                                        </p:tgtEl>
                                        <p:attrNameLst>
                                          <p:attrName>fillcolor</p:attrName>
                                        </p:attrNameLst>
                                      </p:cBhvr>
                                      <p:to>
                                        <a:srgbClr val="D8D8D8"/>
                                      </p:to>
                                    </p:animClr>
                                    <p:set>
                                      <p:cBhvr>
                                        <p:cTn id="24" dur="500" fill="hold"/>
                                        <p:tgtEl>
                                          <p:spTgt spid="9">
                                            <p:txEl>
                                              <p:pRg st="2" end="2"/>
                                            </p:txEl>
                                          </p:spTgt>
                                        </p:tgtEl>
                                        <p:attrNameLst>
                                          <p:attrName>fill.type</p:attrName>
                                        </p:attrNameLst>
                                      </p:cBhvr>
                                      <p:to>
                                        <p:strVal val="solid"/>
                                      </p:to>
                                    </p:set>
                                    <p:set>
                                      <p:cBhvr>
                                        <p:cTn id="25" dur="500" fill="hold"/>
                                        <p:tgtEl>
                                          <p:spTgt spid="9">
                                            <p:txEl>
                                              <p:pRg st="2" end="2"/>
                                            </p:txEl>
                                          </p:spTgt>
                                        </p:tgtEl>
                                        <p:attrNameLst>
                                          <p:attrName>fill.on</p:attrName>
                                        </p:attrNameLst>
                                      </p:cBhvr>
                                      <p:to>
                                        <p:strVal val="true"/>
                                      </p:to>
                                    </p:set>
                                  </p:childTnLst>
                                </p:cTn>
                              </p:par>
                              <p:par>
                                <p:cTn id="26" presetID="19" presetClass="emph" presetSubtype="0" fill="hold" nodeType="withEffect">
                                  <p:stCondLst>
                                    <p:cond delay="0"/>
                                  </p:stCondLst>
                                  <p:childTnLst>
                                    <p:animClr clrSpc="rgb" dir="cw">
                                      <p:cBhvr override="childStyle">
                                        <p:cTn id="27" dur="500" fill="hold"/>
                                        <p:tgtEl>
                                          <p:spTgt spid="9">
                                            <p:txEl>
                                              <p:pRg st="3" end="3"/>
                                            </p:txEl>
                                          </p:spTgt>
                                        </p:tgtEl>
                                        <p:attrNameLst>
                                          <p:attrName>style.color</p:attrName>
                                        </p:attrNameLst>
                                      </p:cBhvr>
                                      <p:to>
                                        <a:srgbClr val="D8D8D8"/>
                                      </p:to>
                                    </p:animClr>
                                    <p:animClr clrSpc="rgb" dir="cw">
                                      <p:cBhvr>
                                        <p:cTn id="28" dur="500" fill="hold"/>
                                        <p:tgtEl>
                                          <p:spTgt spid="9">
                                            <p:txEl>
                                              <p:pRg st="3" end="3"/>
                                            </p:txEl>
                                          </p:spTgt>
                                        </p:tgtEl>
                                        <p:attrNameLst>
                                          <p:attrName>fillcolor</p:attrName>
                                        </p:attrNameLst>
                                      </p:cBhvr>
                                      <p:to>
                                        <a:srgbClr val="D8D8D8"/>
                                      </p:to>
                                    </p:animClr>
                                    <p:set>
                                      <p:cBhvr>
                                        <p:cTn id="29" dur="500" fill="hold"/>
                                        <p:tgtEl>
                                          <p:spTgt spid="9">
                                            <p:txEl>
                                              <p:pRg st="3" end="3"/>
                                            </p:txEl>
                                          </p:spTgt>
                                        </p:tgtEl>
                                        <p:attrNameLst>
                                          <p:attrName>fill.type</p:attrName>
                                        </p:attrNameLst>
                                      </p:cBhvr>
                                      <p:to>
                                        <p:strVal val="solid"/>
                                      </p:to>
                                    </p:set>
                                    <p:set>
                                      <p:cBhvr>
                                        <p:cTn id="30" dur="500" fill="hold"/>
                                        <p:tgtEl>
                                          <p:spTgt spid="9">
                                            <p:txEl>
                                              <p:pRg st="3" end="3"/>
                                            </p:txEl>
                                          </p:spTgt>
                                        </p:tgtEl>
                                        <p:attrNameLst>
                                          <p:attrName>fill.on</p:attrName>
                                        </p:attrNameLst>
                                      </p:cBhvr>
                                      <p:to>
                                        <p:strVal val="true"/>
                                      </p:to>
                                    </p:set>
                                  </p:childTnLst>
                                </p:cTn>
                              </p:par>
                              <p:par>
                                <p:cTn id="31" presetID="19" presetClass="emph" presetSubtype="0" fill="hold" nodeType="withEffect">
                                  <p:stCondLst>
                                    <p:cond delay="0"/>
                                  </p:stCondLst>
                                  <p:childTnLst>
                                    <p:animClr clrSpc="rgb" dir="cw">
                                      <p:cBhvr override="childStyle">
                                        <p:cTn id="32" dur="500" fill="hold"/>
                                        <p:tgtEl>
                                          <p:spTgt spid="9">
                                            <p:txEl>
                                              <p:pRg st="5" end="5"/>
                                            </p:txEl>
                                          </p:spTgt>
                                        </p:tgtEl>
                                        <p:attrNameLst>
                                          <p:attrName>style.color</p:attrName>
                                        </p:attrNameLst>
                                      </p:cBhvr>
                                      <p:to>
                                        <a:srgbClr val="D8D8D8"/>
                                      </p:to>
                                    </p:animClr>
                                    <p:animClr clrSpc="rgb" dir="cw">
                                      <p:cBhvr>
                                        <p:cTn id="33" dur="500" fill="hold"/>
                                        <p:tgtEl>
                                          <p:spTgt spid="9">
                                            <p:txEl>
                                              <p:pRg st="5" end="5"/>
                                            </p:txEl>
                                          </p:spTgt>
                                        </p:tgtEl>
                                        <p:attrNameLst>
                                          <p:attrName>fillcolor</p:attrName>
                                        </p:attrNameLst>
                                      </p:cBhvr>
                                      <p:to>
                                        <a:srgbClr val="D8D8D8"/>
                                      </p:to>
                                    </p:animClr>
                                    <p:set>
                                      <p:cBhvr>
                                        <p:cTn id="34" dur="500" fill="hold"/>
                                        <p:tgtEl>
                                          <p:spTgt spid="9">
                                            <p:txEl>
                                              <p:pRg st="5" end="5"/>
                                            </p:txEl>
                                          </p:spTgt>
                                        </p:tgtEl>
                                        <p:attrNameLst>
                                          <p:attrName>fill.type</p:attrName>
                                        </p:attrNameLst>
                                      </p:cBhvr>
                                      <p:to>
                                        <p:strVal val="solid"/>
                                      </p:to>
                                    </p:set>
                                    <p:set>
                                      <p:cBhvr>
                                        <p:cTn id="35" dur="500" fill="hold"/>
                                        <p:tgtEl>
                                          <p:spTgt spid="9">
                                            <p:txEl>
                                              <p:pRg st="5" end="5"/>
                                            </p:txEl>
                                          </p:spTgt>
                                        </p:tgtEl>
                                        <p:attrNameLst>
                                          <p:attrName>fill.on</p:attrName>
                                        </p:attrNameLst>
                                      </p:cBhvr>
                                      <p:to>
                                        <p:strVal val="true"/>
                                      </p:to>
                                    </p:set>
                                  </p:childTnLst>
                                </p:cTn>
                              </p:par>
                              <p:par>
                                <p:cTn id="36" presetID="19" presetClass="emph" presetSubtype="0" fill="hold" nodeType="withEffect">
                                  <p:stCondLst>
                                    <p:cond delay="0"/>
                                  </p:stCondLst>
                                  <p:childTnLst>
                                    <p:animClr clrSpc="rgb" dir="cw">
                                      <p:cBhvr override="childStyle">
                                        <p:cTn id="37" dur="500" fill="hold"/>
                                        <p:tgtEl>
                                          <p:spTgt spid="9">
                                            <p:txEl>
                                              <p:pRg st="6" end="6"/>
                                            </p:txEl>
                                          </p:spTgt>
                                        </p:tgtEl>
                                        <p:attrNameLst>
                                          <p:attrName>style.color</p:attrName>
                                        </p:attrNameLst>
                                      </p:cBhvr>
                                      <p:to>
                                        <a:srgbClr val="D8D8D8"/>
                                      </p:to>
                                    </p:animClr>
                                    <p:animClr clrSpc="rgb" dir="cw">
                                      <p:cBhvr>
                                        <p:cTn id="38" dur="500" fill="hold"/>
                                        <p:tgtEl>
                                          <p:spTgt spid="9">
                                            <p:txEl>
                                              <p:pRg st="6" end="6"/>
                                            </p:txEl>
                                          </p:spTgt>
                                        </p:tgtEl>
                                        <p:attrNameLst>
                                          <p:attrName>fillcolor</p:attrName>
                                        </p:attrNameLst>
                                      </p:cBhvr>
                                      <p:to>
                                        <a:srgbClr val="D8D8D8"/>
                                      </p:to>
                                    </p:animClr>
                                    <p:set>
                                      <p:cBhvr>
                                        <p:cTn id="39" dur="500" fill="hold"/>
                                        <p:tgtEl>
                                          <p:spTgt spid="9">
                                            <p:txEl>
                                              <p:pRg st="6" end="6"/>
                                            </p:txEl>
                                          </p:spTgt>
                                        </p:tgtEl>
                                        <p:attrNameLst>
                                          <p:attrName>fill.type</p:attrName>
                                        </p:attrNameLst>
                                      </p:cBhvr>
                                      <p:to>
                                        <p:strVal val="solid"/>
                                      </p:to>
                                    </p:set>
                                    <p:set>
                                      <p:cBhvr>
                                        <p:cTn id="40" dur="500" fill="hold"/>
                                        <p:tgtEl>
                                          <p:spTgt spid="9">
                                            <p:txEl>
                                              <p:pRg st="6" end="6"/>
                                            </p:txEl>
                                          </p:spTgt>
                                        </p:tgtEl>
                                        <p:attrNameLst>
                                          <p:attrName>fill.on</p:attrName>
                                        </p:attrNameLst>
                                      </p:cBhvr>
                                      <p:to>
                                        <p:strVal val="true"/>
                                      </p:to>
                                    </p:set>
                                  </p:childTnLst>
                                </p:cTn>
                              </p:par>
                              <p:par>
                                <p:cTn id="41" presetID="19" presetClass="emph" presetSubtype="0" fill="hold" nodeType="withEffect">
                                  <p:stCondLst>
                                    <p:cond delay="0"/>
                                  </p:stCondLst>
                                  <p:childTnLst>
                                    <p:animClr clrSpc="rgb" dir="cw">
                                      <p:cBhvr override="childStyle">
                                        <p:cTn id="42" dur="500" fill="hold"/>
                                        <p:tgtEl>
                                          <p:spTgt spid="9">
                                            <p:txEl>
                                              <p:pRg st="7" end="7"/>
                                            </p:txEl>
                                          </p:spTgt>
                                        </p:tgtEl>
                                        <p:attrNameLst>
                                          <p:attrName>style.color</p:attrName>
                                        </p:attrNameLst>
                                      </p:cBhvr>
                                      <p:to>
                                        <a:srgbClr val="D8D8D8"/>
                                      </p:to>
                                    </p:animClr>
                                    <p:animClr clrSpc="rgb" dir="cw">
                                      <p:cBhvr>
                                        <p:cTn id="43" dur="500" fill="hold"/>
                                        <p:tgtEl>
                                          <p:spTgt spid="9">
                                            <p:txEl>
                                              <p:pRg st="7" end="7"/>
                                            </p:txEl>
                                          </p:spTgt>
                                        </p:tgtEl>
                                        <p:attrNameLst>
                                          <p:attrName>fillcolor</p:attrName>
                                        </p:attrNameLst>
                                      </p:cBhvr>
                                      <p:to>
                                        <a:srgbClr val="D8D8D8"/>
                                      </p:to>
                                    </p:animClr>
                                    <p:set>
                                      <p:cBhvr>
                                        <p:cTn id="44" dur="500" fill="hold"/>
                                        <p:tgtEl>
                                          <p:spTgt spid="9">
                                            <p:txEl>
                                              <p:pRg st="7" end="7"/>
                                            </p:txEl>
                                          </p:spTgt>
                                        </p:tgtEl>
                                        <p:attrNameLst>
                                          <p:attrName>fill.type</p:attrName>
                                        </p:attrNameLst>
                                      </p:cBhvr>
                                      <p:to>
                                        <p:strVal val="solid"/>
                                      </p:to>
                                    </p:set>
                                    <p:set>
                                      <p:cBhvr>
                                        <p:cTn id="45" dur="500" fill="hold"/>
                                        <p:tgtEl>
                                          <p:spTgt spid="9">
                                            <p:txEl>
                                              <p:pRg st="7" end="7"/>
                                            </p:txEl>
                                          </p:spTgt>
                                        </p:tgtEl>
                                        <p:attrNameLst>
                                          <p:attrName>fill.on</p:attrName>
                                        </p:attrNameLst>
                                      </p:cBhvr>
                                      <p:to>
                                        <p:strVal val="true"/>
                                      </p:to>
                                    </p:set>
                                  </p:childTnLst>
                                </p:cTn>
                              </p:par>
                              <p:par>
                                <p:cTn id="46" presetID="19" presetClass="emph" presetSubtype="0" fill="hold" nodeType="withEffect">
                                  <p:stCondLst>
                                    <p:cond delay="0"/>
                                  </p:stCondLst>
                                  <p:childTnLst>
                                    <p:animClr clrSpc="rgb" dir="cw">
                                      <p:cBhvr override="childStyle">
                                        <p:cTn id="47" dur="500" fill="hold"/>
                                        <p:tgtEl>
                                          <p:spTgt spid="9">
                                            <p:txEl>
                                              <p:pRg st="8" end="8"/>
                                            </p:txEl>
                                          </p:spTgt>
                                        </p:tgtEl>
                                        <p:attrNameLst>
                                          <p:attrName>style.color</p:attrName>
                                        </p:attrNameLst>
                                      </p:cBhvr>
                                      <p:to>
                                        <a:srgbClr val="D8D8D8"/>
                                      </p:to>
                                    </p:animClr>
                                    <p:animClr clrSpc="rgb" dir="cw">
                                      <p:cBhvr>
                                        <p:cTn id="48" dur="500" fill="hold"/>
                                        <p:tgtEl>
                                          <p:spTgt spid="9">
                                            <p:txEl>
                                              <p:pRg st="8" end="8"/>
                                            </p:txEl>
                                          </p:spTgt>
                                        </p:tgtEl>
                                        <p:attrNameLst>
                                          <p:attrName>fillcolor</p:attrName>
                                        </p:attrNameLst>
                                      </p:cBhvr>
                                      <p:to>
                                        <a:srgbClr val="D8D8D8"/>
                                      </p:to>
                                    </p:animClr>
                                    <p:set>
                                      <p:cBhvr>
                                        <p:cTn id="49" dur="500" fill="hold"/>
                                        <p:tgtEl>
                                          <p:spTgt spid="9">
                                            <p:txEl>
                                              <p:pRg st="8" end="8"/>
                                            </p:txEl>
                                          </p:spTgt>
                                        </p:tgtEl>
                                        <p:attrNameLst>
                                          <p:attrName>fill.type</p:attrName>
                                        </p:attrNameLst>
                                      </p:cBhvr>
                                      <p:to>
                                        <p:strVal val="solid"/>
                                      </p:to>
                                    </p:set>
                                    <p:set>
                                      <p:cBhvr>
                                        <p:cTn id="50" dur="500" fill="hold"/>
                                        <p:tgtEl>
                                          <p:spTgt spid="9">
                                            <p:txEl>
                                              <p:pRg st="8" end="8"/>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Access Control (Roles)</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72316" y="118927"/>
            <a:ext cx="788438" cy="788438"/>
          </a:xfrm>
          <a:prstGeom prst="rect">
            <a:avLst/>
          </a:prstGeom>
        </p:spPr>
      </p:pic>
      <p:sp>
        <p:nvSpPr>
          <p:cNvPr id="10" name="Content Placeholder 2">
            <a:extLst>
              <a:ext uri="{FF2B5EF4-FFF2-40B4-BE49-F238E27FC236}">
                <a16:creationId xmlns:a16="http://schemas.microsoft.com/office/drawing/2014/main" id="{7D3510F7-92A6-41F3-B6BC-7A51DA6044C3}"/>
              </a:ext>
            </a:extLst>
          </p:cNvPr>
          <p:cNvSpPr txBox="1">
            <a:spLocks/>
          </p:cNvSpPr>
          <p:nvPr/>
        </p:nvSpPr>
        <p:spPr>
          <a:xfrm>
            <a:off x="373149" y="1295247"/>
            <a:ext cx="4356733" cy="2855734"/>
          </a:xfrm>
          <a:prstGeom prst="rect">
            <a:avLst/>
          </a:prstGeom>
        </p:spPr>
        <p:txBody>
          <a:bodyPr>
            <a:norm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200"/>
              </a:spcBef>
              <a:spcAft>
                <a:spcPts val="200"/>
              </a:spcAft>
            </a:pPr>
            <a:r>
              <a:rPr lang="en-AU" sz="1200" b="1" dirty="0"/>
              <a:t>Roles can be configured in FNMS to restrict rights for users of the system based on:</a:t>
            </a:r>
          </a:p>
          <a:p>
            <a:pPr lvl="1">
              <a:lnSpc>
                <a:spcPct val="100000"/>
              </a:lnSpc>
              <a:spcBef>
                <a:spcPts val="200"/>
              </a:spcBef>
              <a:spcAft>
                <a:spcPts val="200"/>
              </a:spcAft>
            </a:pPr>
            <a:r>
              <a:rPr lang="en-AU" b="1" dirty="0"/>
              <a:t>Operation performed</a:t>
            </a:r>
          </a:p>
          <a:p>
            <a:pPr lvl="1">
              <a:lnSpc>
                <a:spcPct val="100000"/>
              </a:lnSpc>
              <a:spcBef>
                <a:spcPts val="200"/>
              </a:spcBef>
              <a:spcAft>
                <a:spcPts val="200"/>
              </a:spcAft>
            </a:pPr>
            <a:r>
              <a:rPr lang="en-AU" b="1" dirty="0"/>
              <a:t>Enterprise group of data records to be accessed</a:t>
            </a:r>
          </a:p>
          <a:p>
            <a:pPr lvl="1">
              <a:lnSpc>
                <a:spcPct val="100000"/>
              </a:lnSpc>
              <a:spcBef>
                <a:spcPts val="200"/>
              </a:spcBef>
              <a:spcAft>
                <a:spcPts val="200"/>
              </a:spcAft>
            </a:pPr>
            <a:endParaRPr lang="en-AU" b="1" dirty="0"/>
          </a:p>
          <a:p>
            <a:pPr>
              <a:lnSpc>
                <a:spcPct val="100000"/>
              </a:lnSpc>
              <a:spcBef>
                <a:spcPts val="200"/>
              </a:spcBef>
              <a:spcAft>
                <a:spcPts val="200"/>
              </a:spcAft>
            </a:pPr>
            <a:r>
              <a:rPr lang="en-AU" sz="1200" b="1" dirty="0"/>
              <a:t>Will different groups of users require different levels of access?</a:t>
            </a:r>
          </a:p>
          <a:p>
            <a:pPr>
              <a:lnSpc>
                <a:spcPct val="100000"/>
              </a:lnSpc>
              <a:spcBef>
                <a:spcPts val="200"/>
              </a:spcBef>
              <a:spcAft>
                <a:spcPts val="200"/>
              </a:spcAft>
            </a:pPr>
            <a:endParaRPr lang="en-AU" sz="1200" b="1" dirty="0"/>
          </a:p>
          <a:p>
            <a:pPr>
              <a:lnSpc>
                <a:spcPct val="100000"/>
              </a:lnSpc>
              <a:spcBef>
                <a:spcPts val="200"/>
              </a:spcBef>
              <a:spcAft>
                <a:spcPts val="200"/>
              </a:spcAft>
            </a:pPr>
            <a:r>
              <a:rPr lang="en-AU" sz="1200" b="1" dirty="0"/>
              <a:t>What responsibilities will different user groups have?</a:t>
            </a:r>
          </a:p>
        </p:txBody>
      </p:sp>
      <p:pic>
        <p:nvPicPr>
          <p:cNvPr id="13" name="Picture 12">
            <a:extLst>
              <a:ext uri="{FF2B5EF4-FFF2-40B4-BE49-F238E27FC236}">
                <a16:creationId xmlns:a16="http://schemas.microsoft.com/office/drawing/2014/main" id="{2F9F5D8F-A7C0-47E7-A714-CFCAC75AD3D1}"/>
              </a:ext>
            </a:extLst>
          </p:cNvPr>
          <p:cNvPicPr>
            <a:picLocks noChangeAspect="1"/>
          </p:cNvPicPr>
          <p:nvPr/>
        </p:nvPicPr>
        <p:blipFill>
          <a:blip r:embed="rId7"/>
          <a:stretch>
            <a:fillRect/>
          </a:stretch>
        </p:blipFill>
        <p:spPr>
          <a:xfrm>
            <a:off x="4841715" y="1019304"/>
            <a:ext cx="3286476" cy="2973794"/>
          </a:xfrm>
          <a:prstGeom prst="rect">
            <a:avLst/>
          </a:prstGeom>
        </p:spPr>
      </p:pic>
    </p:spTree>
    <p:extLst>
      <p:ext uri="{BB962C8B-B14F-4D97-AF65-F5344CB8AC3E}">
        <p14:creationId xmlns:p14="http://schemas.microsoft.com/office/powerpoint/2010/main" val="34642858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Access Control (Roles)</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2316" y="118927"/>
            <a:ext cx="788438" cy="788438"/>
          </a:xfrm>
          <a:prstGeom prst="rect">
            <a:avLst/>
          </a:prstGeom>
        </p:spPr>
      </p:pic>
      <p:graphicFrame>
        <p:nvGraphicFramePr>
          <p:cNvPr id="9" name="Table 8">
            <a:extLst>
              <a:ext uri="{FF2B5EF4-FFF2-40B4-BE49-F238E27FC236}">
                <a16:creationId xmlns:a16="http://schemas.microsoft.com/office/drawing/2014/main" id="{70CAF78D-BEAE-4F90-A4C2-43461A77CC67}"/>
              </a:ext>
            </a:extLst>
          </p:cNvPr>
          <p:cNvGraphicFramePr>
            <a:graphicFrameLocks noGrp="1"/>
          </p:cNvGraphicFramePr>
          <p:nvPr>
            <p:extLst>
              <p:ext uri="{D42A27DB-BD31-4B8C-83A1-F6EECF244321}">
                <p14:modId xmlns:p14="http://schemas.microsoft.com/office/powerpoint/2010/main" val="173083624"/>
              </p:ext>
            </p:extLst>
          </p:nvPr>
        </p:nvGraphicFramePr>
        <p:xfrm>
          <a:off x="360975" y="1245483"/>
          <a:ext cx="7610496" cy="2366128"/>
        </p:xfrm>
        <a:graphic>
          <a:graphicData uri="http://schemas.openxmlformats.org/drawingml/2006/table">
            <a:tbl>
              <a:tblPr firstRow="1" bandRow="1">
                <a:tableStyleId>{5C22544A-7EE6-4342-B048-85BDC9FD1C3A}</a:tableStyleId>
              </a:tblPr>
              <a:tblGrid>
                <a:gridCol w="2536832">
                  <a:extLst>
                    <a:ext uri="{9D8B030D-6E8A-4147-A177-3AD203B41FA5}">
                      <a16:colId xmlns:a16="http://schemas.microsoft.com/office/drawing/2014/main" val="115271789"/>
                    </a:ext>
                  </a:extLst>
                </a:gridCol>
                <a:gridCol w="2536832">
                  <a:extLst>
                    <a:ext uri="{9D8B030D-6E8A-4147-A177-3AD203B41FA5}">
                      <a16:colId xmlns:a16="http://schemas.microsoft.com/office/drawing/2014/main" val="178507480"/>
                    </a:ext>
                  </a:extLst>
                </a:gridCol>
                <a:gridCol w="2536832">
                  <a:extLst>
                    <a:ext uri="{9D8B030D-6E8A-4147-A177-3AD203B41FA5}">
                      <a16:colId xmlns:a16="http://schemas.microsoft.com/office/drawing/2014/main" val="1763373157"/>
                    </a:ext>
                  </a:extLst>
                </a:gridCol>
              </a:tblGrid>
              <a:tr h="438444">
                <a:tc>
                  <a:txBody>
                    <a:bodyPr/>
                    <a:lstStyle/>
                    <a:p>
                      <a:r>
                        <a:rPr lang="en-AU" sz="1200" dirty="0"/>
                        <a:t>Type of operator</a:t>
                      </a:r>
                    </a:p>
                  </a:txBody>
                  <a:tcPr/>
                </a:tc>
                <a:tc>
                  <a:txBody>
                    <a:bodyPr/>
                    <a:lstStyle/>
                    <a:p>
                      <a:r>
                        <a:rPr lang="en-AU" sz="1200" dirty="0"/>
                        <a:t>Types of operations they will need to do in FNMS</a:t>
                      </a:r>
                    </a:p>
                  </a:txBody>
                  <a:tcPr/>
                </a:tc>
                <a:tc>
                  <a:txBody>
                    <a:bodyPr/>
                    <a:lstStyle/>
                    <a:p>
                      <a:r>
                        <a:rPr lang="en-AU" sz="1200" dirty="0"/>
                        <a:t>Enterprise groups they will need access to data for</a:t>
                      </a:r>
                    </a:p>
                  </a:txBody>
                  <a:tcPr/>
                </a:tc>
                <a:extLst>
                  <a:ext uri="{0D108BD9-81ED-4DB2-BD59-A6C34878D82A}">
                    <a16:rowId xmlns:a16="http://schemas.microsoft.com/office/drawing/2014/main" val="255064147"/>
                  </a:ext>
                </a:extLst>
              </a:tr>
              <a:tr h="477232">
                <a:tc>
                  <a:txBody>
                    <a:bodyPr/>
                    <a:lstStyle/>
                    <a:p>
                      <a:endParaRPr lang="en-AU" sz="1200" dirty="0"/>
                    </a:p>
                  </a:txBody>
                  <a:tcPr/>
                </a:tc>
                <a:tc>
                  <a:txBody>
                    <a:bodyPr/>
                    <a:lstStyle/>
                    <a:p>
                      <a:endParaRPr lang="en-AU" sz="1200"/>
                    </a:p>
                  </a:txBody>
                  <a:tcPr/>
                </a:tc>
                <a:tc>
                  <a:txBody>
                    <a:bodyPr/>
                    <a:lstStyle/>
                    <a:p>
                      <a:endParaRPr lang="en-AU" sz="1200"/>
                    </a:p>
                  </a:txBody>
                  <a:tcPr/>
                </a:tc>
                <a:extLst>
                  <a:ext uri="{0D108BD9-81ED-4DB2-BD59-A6C34878D82A}">
                    <a16:rowId xmlns:a16="http://schemas.microsoft.com/office/drawing/2014/main" val="3441107308"/>
                  </a:ext>
                </a:extLst>
              </a:tr>
              <a:tr h="477232">
                <a:tc>
                  <a:txBody>
                    <a:bodyPr/>
                    <a:lstStyle/>
                    <a:p>
                      <a:endParaRPr lang="en-AU" sz="1200"/>
                    </a:p>
                  </a:txBody>
                  <a:tcPr/>
                </a:tc>
                <a:tc>
                  <a:txBody>
                    <a:bodyPr/>
                    <a:lstStyle/>
                    <a:p>
                      <a:endParaRPr lang="en-AU" sz="1200" dirty="0"/>
                    </a:p>
                  </a:txBody>
                  <a:tcPr/>
                </a:tc>
                <a:tc>
                  <a:txBody>
                    <a:bodyPr/>
                    <a:lstStyle/>
                    <a:p>
                      <a:endParaRPr lang="en-AU" sz="1200" dirty="0"/>
                    </a:p>
                  </a:txBody>
                  <a:tcPr/>
                </a:tc>
                <a:extLst>
                  <a:ext uri="{0D108BD9-81ED-4DB2-BD59-A6C34878D82A}">
                    <a16:rowId xmlns:a16="http://schemas.microsoft.com/office/drawing/2014/main" val="575118125"/>
                  </a:ext>
                </a:extLst>
              </a:tr>
              <a:tr h="477232">
                <a:tc>
                  <a:txBody>
                    <a:bodyPr/>
                    <a:lstStyle/>
                    <a:p>
                      <a:endParaRPr lang="en-AU" sz="1200"/>
                    </a:p>
                  </a:txBody>
                  <a:tcPr/>
                </a:tc>
                <a:tc>
                  <a:txBody>
                    <a:bodyPr/>
                    <a:lstStyle/>
                    <a:p>
                      <a:endParaRPr lang="en-AU" sz="1200" dirty="0"/>
                    </a:p>
                  </a:txBody>
                  <a:tcPr/>
                </a:tc>
                <a:tc>
                  <a:txBody>
                    <a:bodyPr/>
                    <a:lstStyle/>
                    <a:p>
                      <a:endParaRPr lang="en-AU" sz="1200" dirty="0"/>
                    </a:p>
                  </a:txBody>
                  <a:tcPr/>
                </a:tc>
                <a:extLst>
                  <a:ext uri="{0D108BD9-81ED-4DB2-BD59-A6C34878D82A}">
                    <a16:rowId xmlns:a16="http://schemas.microsoft.com/office/drawing/2014/main" val="3093463740"/>
                  </a:ext>
                </a:extLst>
              </a:tr>
              <a:tr h="477232">
                <a:tc>
                  <a:txBody>
                    <a:bodyPr/>
                    <a:lstStyle/>
                    <a:p>
                      <a:endParaRPr lang="en-AU"/>
                    </a:p>
                  </a:txBody>
                  <a:tcPr/>
                </a:tc>
                <a:tc>
                  <a:txBody>
                    <a:bodyPr/>
                    <a:lstStyle/>
                    <a:p>
                      <a:endParaRPr lang="en-AU"/>
                    </a:p>
                  </a:txBody>
                  <a:tcPr/>
                </a:tc>
                <a:tc>
                  <a:txBody>
                    <a:bodyPr/>
                    <a:lstStyle/>
                    <a:p>
                      <a:endParaRPr lang="en-AU" dirty="0"/>
                    </a:p>
                  </a:txBody>
                  <a:tcPr/>
                </a:tc>
                <a:extLst>
                  <a:ext uri="{0D108BD9-81ED-4DB2-BD59-A6C34878D82A}">
                    <a16:rowId xmlns:a16="http://schemas.microsoft.com/office/drawing/2014/main" val="1232107357"/>
                  </a:ext>
                </a:extLst>
              </a:tr>
            </a:tbl>
          </a:graphicData>
        </a:graphic>
      </p:graphicFrame>
    </p:spTree>
    <p:extLst>
      <p:ext uri="{BB962C8B-B14F-4D97-AF65-F5344CB8AC3E}">
        <p14:creationId xmlns:p14="http://schemas.microsoft.com/office/powerpoint/2010/main" val="27714086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Data Model Extensions</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72316" y="118927"/>
            <a:ext cx="788438" cy="788438"/>
          </a:xfrm>
          <a:prstGeom prst="rect">
            <a:avLst/>
          </a:prstGeom>
        </p:spPr>
      </p:pic>
      <p:sp>
        <p:nvSpPr>
          <p:cNvPr id="9" name="Content Placeholder 2">
            <a:extLst>
              <a:ext uri="{FF2B5EF4-FFF2-40B4-BE49-F238E27FC236}">
                <a16:creationId xmlns:a16="http://schemas.microsoft.com/office/drawing/2014/main" id="{384C0B20-90F6-40F0-9758-DAC4C7AF6FD0}"/>
              </a:ext>
            </a:extLst>
          </p:cNvPr>
          <p:cNvSpPr txBox="1">
            <a:spLocks/>
          </p:cNvSpPr>
          <p:nvPr/>
        </p:nvSpPr>
        <p:spPr>
          <a:xfrm>
            <a:off x="360975" y="1167828"/>
            <a:ext cx="7142331" cy="2437146"/>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200"/>
              </a:spcBef>
              <a:spcAft>
                <a:spcPts val="200"/>
              </a:spcAft>
            </a:pPr>
            <a:r>
              <a:rPr lang="en-AU" sz="1200" b="1" dirty="0"/>
              <a:t>Many parts of the FNMS data model can be extended by:</a:t>
            </a:r>
          </a:p>
          <a:p>
            <a:pPr lvl="1">
              <a:lnSpc>
                <a:spcPct val="100000"/>
              </a:lnSpc>
              <a:spcBef>
                <a:spcPts val="200"/>
              </a:spcBef>
              <a:spcAft>
                <a:spcPts val="200"/>
              </a:spcAft>
            </a:pPr>
            <a:r>
              <a:rPr lang="en-AU" b="1" dirty="0"/>
              <a:t>Additional of custom properties</a:t>
            </a:r>
          </a:p>
          <a:p>
            <a:pPr lvl="1">
              <a:lnSpc>
                <a:spcPct val="100000"/>
              </a:lnSpc>
              <a:spcBef>
                <a:spcPts val="200"/>
              </a:spcBef>
              <a:spcAft>
                <a:spcPts val="200"/>
              </a:spcAft>
            </a:pPr>
            <a:r>
              <a:rPr lang="en-AU" b="1" dirty="0"/>
              <a:t>Customization of values available in drop down lists</a:t>
            </a:r>
          </a:p>
          <a:p>
            <a:pPr lvl="1">
              <a:lnSpc>
                <a:spcPct val="100000"/>
              </a:lnSpc>
              <a:spcBef>
                <a:spcPts val="200"/>
              </a:spcBef>
              <a:spcAft>
                <a:spcPts val="200"/>
              </a:spcAft>
            </a:pPr>
            <a:r>
              <a:rPr lang="en-AU" b="1" dirty="0"/>
              <a:t>Definition of custom types of hardware assets and contracts</a:t>
            </a:r>
          </a:p>
          <a:p>
            <a:pPr lvl="1">
              <a:lnSpc>
                <a:spcPct val="100000"/>
              </a:lnSpc>
              <a:spcBef>
                <a:spcPts val="200"/>
              </a:spcBef>
              <a:spcAft>
                <a:spcPts val="200"/>
              </a:spcAft>
            </a:pPr>
            <a:endParaRPr lang="en-AU" b="1" dirty="0"/>
          </a:p>
          <a:p>
            <a:pPr>
              <a:lnSpc>
                <a:spcPct val="100000"/>
              </a:lnSpc>
              <a:spcBef>
                <a:spcPts val="200"/>
              </a:spcBef>
              <a:spcAft>
                <a:spcPts val="200"/>
              </a:spcAft>
            </a:pPr>
            <a:r>
              <a:rPr lang="en-AU" sz="1200" b="1" dirty="0"/>
              <a:t>For example:</a:t>
            </a:r>
          </a:p>
          <a:p>
            <a:pPr lvl="1">
              <a:lnSpc>
                <a:spcPct val="100000"/>
              </a:lnSpc>
              <a:spcBef>
                <a:spcPts val="200"/>
              </a:spcBef>
              <a:spcAft>
                <a:spcPts val="200"/>
              </a:spcAft>
            </a:pPr>
            <a:r>
              <a:rPr lang="en-AU" b="1" dirty="0"/>
              <a:t>Hardware asset records could be customized with additional properties such as “Due for refresh” or “Assigned project”</a:t>
            </a:r>
          </a:p>
          <a:p>
            <a:pPr lvl="1">
              <a:lnSpc>
                <a:spcPct val="100000"/>
              </a:lnSpc>
              <a:spcBef>
                <a:spcPts val="200"/>
              </a:spcBef>
              <a:spcAft>
                <a:spcPts val="200"/>
              </a:spcAft>
            </a:pPr>
            <a:r>
              <a:rPr lang="en-AU" b="1" dirty="0"/>
              <a:t>The hardware asset status drop down list could be customized with the addition of an “In storage” status</a:t>
            </a:r>
          </a:p>
          <a:p>
            <a:pPr lvl="1">
              <a:lnSpc>
                <a:spcPct val="100000"/>
              </a:lnSpc>
              <a:spcBef>
                <a:spcPts val="200"/>
              </a:spcBef>
              <a:spcAft>
                <a:spcPts val="200"/>
              </a:spcAft>
            </a:pPr>
            <a:endParaRPr lang="en-AU" b="1" dirty="0"/>
          </a:p>
          <a:p>
            <a:pPr lvl="1">
              <a:lnSpc>
                <a:spcPct val="100000"/>
              </a:lnSpc>
              <a:spcBef>
                <a:spcPts val="200"/>
              </a:spcBef>
              <a:spcAft>
                <a:spcPts val="200"/>
              </a:spcAft>
            </a:pPr>
            <a:endParaRPr lang="en-AU" b="1" dirty="0"/>
          </a:p>
        </p:txBody>
      </p:sp>
      <p:graphicFrame>
        <p:nvGraphicFramePr>
          <p:cNvPr id="12" name="Object 11">
            <a:extLst>
              <a:ext uri="{FF2B5EF4-FFF2-40B4-BE49-F238E27FC236}">
                <a16:creationId xmlns:a16="http://schemas.microsoft.com/office/drawing/2014/main" id="{9DFDB479-27C1-4C12-A4AC-222CB4F9EC79}"/>
              </a:ext>
            </a:extLst>
          </p:cNvPr>
          <p:cNvGraphicFramePr>
            <a:graphicFrameLocks noChangeAspect="1"/>
          </p:cNvGraphicFramePr>
          <p:nvPr>
            <p:extLst>
              <p:ext uri="{D42A27DB-BD31-4B8C-83A1-F6EECF244321}">
                <p14:modId xmlns:p14="http://schemas.microsoft.com/office/powerpoint/2010/main" val="3164161210"/>
              </p:ext>
            </p:extLst>
          </p:nvPr>
        </p:nvGraphicFramePr>
        <p:xfrm>
          <a:off x="7594077" y="1441398"/>
          <a:ext cx="1266677" cy="1068759"/>
        </p:xfrm>
        <a:graphic>
          <a:graphicData uri="http://schemas.openxmlformats.org/presentationml/2006/ole">
            <mc:AlternateContent xmlns:mc="http://schemas.openxmlformats.org/markup-compatibility/2006">
              <mc:Choice xmlns:v="urn:schemas-microsoft-com:vml" Requires="v">
                <p:oleObj spid="_x0000_s6192" name="Worksheet" showAsIcon="1" r:id="rId8" imgW="914400" imgH="771480" progId="Excel.Sheet.12">
                  <p:embed/>
                </p:oleObj>
              </mc:Choice>
              <mc:Fallback>
                <p:oleObj name="Worksheet" showAsIcon="1" r:id="rId8" imgW="914400" imgH="771480" progId="Excel.Sheet.12">
                  <p:embed/>
                  <p:pic>
                    <p:nvPicPr>
                      <p:cNvPr id="5" name="Object 4">
                        <a:extLst>
                          <a:ext uri="{FF2B5EF4-FFF2-40B4-BE49-F238E27FC236}">
                            <a16:creationId xmlns:a16="http://schemas.microsoft.com/office/drawing/2014/main" id="{8C88E3C3-2B04-4522-BC6D-DAF26BF2E073}"/>
                          </a:ext>
                        </a:extLst>
                      </p:cNvPr>
                      <p:cNvPicPr/>
                      <p:nvPr/>
                    </p:nvPicPr>
                    <p:blipFill>
                      <a:blip r:embed="rId9"/>
                      <a:stretch>
                        <a:fillRect/>
                      </a:stretch>
                    </p:blipFill>
                    <p:spPr>
                      <a:xfrm>
                        <a:off x="7594077" y="1441398"/>
                        <a:ext cx="1266677" cy="1068759"/>
                      </a:xfrm>
                      <a:prstGeom prst="rect">
                        <a:avLst/>
                      </a:prstGeom>
                    </p:spPr>
                  </p:pic>
                </p:oleObj>
              </mc:Fallback>
            </mc:AlternateContent>
          </a:graphicData>
        </a:graphic>
      </p:graphicFrame>
    </p:spTree>
    <p:extLst>
      <p:ext uri="{BB962C8B-B14F-4D97-AF65-F5344CB8AC3E}">
        <p14:creationId xmlns:p14="http://schemas.microsoft.com/office/powerpoint/2010/main" val="24232891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Data Model Extensions</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2316" y="118927"/>
            <a:ext cx="788438" cy="788438"/>
          </a:xfrm>
          <a:prstGeom prst="rect">
            <a:avLst/>
          </a:prstGeom>
        </p:spPr>
      </p:pic>
      <p:sp>
        <p:nvSpPr>
          <p:cNvPr id="10" name="Text Placeholder 5">
            <a:extLst>
              <a:ext uri="{FF2B5EF4-FFF2-40B4-BE49-F238E27FC236}">
                <a16:creationId xmlns:a16="http://schemas.microsoft.com/office/drawing/2014/main" id="{396B8130-0418-4663-8F36-9602BC9676EB}"/>
              </a:ext>
            </a:extLst>
          </p:cNvPr>
          <p:cNvSpPr txBox="1">
            <a:spLocks/>
          </p:cNvSpPr>
          <p:nvPr/>
        </p:nvSpPr>
        <p:spPr>
          <a:xfrm>
            <a:off x="416915" y="1306455"/>
            <a:ext cx="3415440" cy="47614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t>Objects that can be extended:</a:t>
            </a:r>
          </a:p>
        </p:txBody>
      </p:sp>
      <p:sp>
        <p:nvSpPr>
          <p:cNvPr id="12" name="Content Placeholder 2">
            <a:extLst>
              <a:ext uri="{FF2B5EF4-FFF2-40B4-BE49-F238E27FC236}">
                <a16:creationId xmlns:a16="http://schemas.microsoft.com/office/drawing/2014/main" id="{1C5F8730-5754-4EA5-B27F-4D1456C14842}"/>
              </a:ext>
            </a:extLst>
          </p:cNvPr>
          <p:cNvSpPr txBox="1">
            <a:spLocks/>
          </p:cNvSpPr>
          <p:nvPr/>
        </p:nvSpPr>
        <p:spPr>
          <a:xfrm>
            <a:off x="650240" y="1673014"/>
            <a:ext cx="1474395" cy="2656939"/>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400"/>
              </a:spcBef>
              <a:spcAft>
                <a:spcPts val="400"/>
              </a:spcAft>
            </a:pPr>
            <a:r>
              <a:rPr lang="en-US" sz="1400" b="1" dirty="0"/>
              <a:t>Asset</a:t>
            </a:r>
          </a:p>
          <a:p>
            <a:pPr>
              <a:lnSpc>
                <a:spcPct val="100000"/>
              </a:lnSpc>
              <a:spcBef>
                <a:spcPts val="400"/>
              </a:spcBef>
              <a:spcAft>
                <a:spcPts val="400"/>
              </a:spcAft>
            </a:pPr>
            <a:r>
              <a:rPr lang="en-US" sz="1400" b="1" dirty="0"/>
              <a:t>Computer</a:t>
            </a:r>
          </a:p>
          <a:p>
            <a:pPr>
              <a:lnSpc>
                <a:spcPct val="100000"/>
              </a:lnSpc>
              <a:spcBef>
                <a:spcPts val="400"/>
              </a:spcBef>
              <a:spcAft>
                <a:spcPts val="400"/>
              </a:spcAft>
            </a:pPr>
            <a:r>
              <a:rPr lang="en-US" sz="1400" b="1" dirty="0"/>
              <a:t>Purchase</a:t>
            </a:r>
          </a:p>
          <a:p>
            <a:pPr>
              <a:lnSpc>
                <a:spcPct val="100000"/>
              </a:lnSpc>
              <a:spcBef>
                <a:spcPts val="400"/>
              </a:spcBef>
              <a:spcAft>
                <a:spcPts val="400"/>
              </a:spcAft>
            </a:pPr>
            <a:r>
              <a:rPr lang="en-US" sz="1400" b="1" dirty="0"/>
              <a:t>Contract</a:t>
            </a:r>
          </a:p>
          <a:p>
            <a:pPr>
              <a:lnSpc>
                <a:spcPct val="100000"/>
              </a:lnSpc>
              <a:spcBef>
                <a:spcPts val="400"/>
              </a:spcBef>
              <a:spcAft>
                <a:spcPts val="400"/>
              </a:spcAft>
            </a:pPr>
            <a:r>
              <a:rPr lang="en-US" sz="1400" b="1" dirty="0"/>
              <a:t>License</a:t>
            </a:r>
          </a:p>
          <a:p>
            <a:pPr>
              <a:lnSpc>
                <a:spcPct val="100000"/>
              </a:lnSpc>
              <a:spcBef>
                <a:spcPts val="400"/>
              </a:spcBef>
              <a:spcAft>
                <a:spcPts val="400"/>
              </a:spcAft>
            </a:pPr>
            <a:r>
              <a:rPr lang="en-US" sz="1400" b="1" dirty="0"/>
              <a:t>User</a:t>
            </a:r>
          </a:p>
          <a:p>
            <a:pPr>
              <a:lnSpc>
                <a:spcPct val="100000"/>
              </a:lnSpc>
              <a:spcBef>
                <a:spcPts val="400"/>
              </a:spcBef>
              <a:spcAft>
                <a:spcPts val="400"/>
              </a:spcAft>
            </a:pPr>
            <a:r>
              <a:rPr lang="en-US" sz="1400" b="1" dirty="0"/>
              <a:t>Vendor</a:t>
            </a:r>
          </a:p>
          <a:p>
            <a:pPr>
              <a:lnSpc>
                <a:spcPct val="100000"/>
              </a:lnSpc>
              <a:spcBef>
                <a:spcPts val="400"/>
              </a:spcBef>
              <a:spcAft>
                <a:spcPts val="400"/>
              </a:spcAft>
            </a:pPr>
            <a:r>
              <a:rPr lang="en-US" sz="1400" b="1" dirty="0"/>
              <a:t>Application</a:t>
            </a:r>
          </a:p>
          <a:p>
            <a:pPr>
              <a:lnSpc>
                <a:spcPct val="100000"/>
              </a:lnSpc>
              <a:spcBef>
                <a:spcPts val="400"/>
              </a:spcBef>
              <a:spcAft>
                <a:spcPts val="400"/>
              </a:spcAft>
            </a:pPr>
            <a:endParaRPr lang="en-AU" sz="1400" b="1" dirty="0"/>
          </a:p>
        </p:txBody>
      </p:sp>
      <p:sp>
        <p:nvSpPr>
          <p:cNvPr id="13" name="Text Placeholder 6">
            <a:extLst>
              <a:ext uri="{FF2B5EF4-FFF2-40B4-BE49-F238E27FC236}">
                <a16:creationId xmlns:a16="http://schemas.microsoft.com/office/drawing/2014/main" id="{CFF7F4AC-B6DF-4861-B2A1-BB0EB758AE26}"/>
              </a:ext>
            </a:extLst>
          </p:cNvPr>
          <p:cNvSpPr txBox="1">
            <a:spLocks/>
          </p:cNvSpPr>
          <p:nvPr/>
        </p:nvSpPr>
        <p:spPr>
          <a:xfrm>
            <a:off x="4033602" y="1337495"/>
            <a:ext cx="2104465" cy="37289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t>Controls available:</a:t>
            </a:r>
            <a:endParaRPr lang="en-AU" sz="1800" b="1" dirty="0"/>
          </a:p>
        </p:txBody>
      </p:sp>
      <p:sp>
        <p:nvSpPr>
          <p:cNvPr id="14" name="Content Placeholder 7">
            <a:extLst>
              <a:ext uri="{FF2B5EF4-FFF2-40B4-BE49-F238E27FC236}">
                <a16:creationId xmlns:a16="http://schemas.microsoft.com/office/drawing/2014/main" id="{948B8C81-F265-4B15-88A5-7148EBB6CBF3}"/>
              </a:ext>
            </a:extLst>
          </p:cNvPr>
          <p:cNvSpPr txBox="1">
            <a:spLocks/>
          </p:cNvSpPr>
          <p:nvPr/>
        </p:nvSpPr>
        <p:spPr>
          <a:xfrm>
            <a:off x="4119909" y="1782602"/>
            <a:ext cx="1998020" cy="296835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Integer</a:t>
            </a:r>
          </a:p>
          <a:p>
            <a:r>
              <a:rPr lang="en-US" sz="1400" b="1" dirty="0"/>
              <a:t>Text box</a:t>
            </a:r>
          </a:p>
          <a:p>
            <a:r>
              <a:rPr lang="en-US" sz="1400" b="1" dirty="0"/>
              <a:t>Text area</a:t>
            </a:r>
          </a:p>
          <a:p>
            <a:r>
              <a:rPr lang="en-US" sz="1400" b="1" dirty="0"/>
              <a:t>Date</a:t>
            </a:r>
          </a:p>
          <a:p>
            <a:r>
              <a:rPr lang="en-US" sz="1400" b="1" dirty="0"/>
              <a:t>Check box</a:t>
            </a:r>
          </a:p>
          <a:p>
            <a:r>
              <a:rPr lang="en-US" sz="1400" b="1" dirty="0"/>
              <a:t>Drop-down list</a:t>
            </a:r>
          </a:p>
          <a:p>
            <a:pPr marL="0" indent="0">
              <a:buFont typeface="Arial" panose="020B0604020202020204" pitchFamily="34" charset="0"/>
              <a:buNone/>
            </a:pPr>
            <a:r>
              <a:rPr lang="en-US" sz="1400" b="1" dirty="0"/>
              <a:t>NB. Each control can be read-only or read-write in the web UI</a:t>
            </a:r>
          </a:p>
        </p:txBody>
      </p:sp>
      <p:pic>
        <p:nvPicPr>
          <p:cNvPr id="15" name="Picture 14">
            <a:extLst>
              <a:ext uri="{FF2B5EF4-FFF2-40B4-BE49-F238E27FC236}">
                <a16:creationId xmlns:a16="http://schemas.microsoft.com/office/drawing/2014/main" id="{9DB0FDF8-0534-4481-899E-ACF7607CE46F}"/>
              </a:ext>
            </a:extLst>
          </p:cNvPr>
          <p:cNvPicPr>
            <a:picLocks noChangeAspect="1"/>
          </p:cNvPicPr>
          <p:nvPr/>
        </p:nvPicPr>
        <p:blipFill>
          <a:blip r:embed="rId6"/>
          <a:stretch>
            <a:fillRect/>
          </a:stretch>
        </p:blipFill>
        <p:spPr>
          <a:xfrm>
            <a:off x="6310315" y="1835308"/>
            <a:ext cx="2715273" cy="285750"/>
          </a:xfrm>
          <a:prstGeom prst="rect">
            <a:avLst/>
          </a:prstGeom>
        </p:spPr>
      </p:pic>
      <p:pic>
        <p:nvPicPr>
          <p:cNvPr id="16" name="Picture 15">
            <a:extLst>
              <a:ext uri="{FF2B5EF4-FFF2-40B4-BE49-F238E27FC236}">
                <a16:creationId xmlns:a16="http://schemas.microsoft.com/office/drawing/2014/main" id="{09897F4F-3664-4640-A738-9F96C665F94C}"/>
              </a:ext>
            </a:extLst>
          </p:cNvPr>
          <p:cNvPicPr>
            <a:picLocks noChangeAspect="1"/>
          </p:cNvPicPr>
          <p:nvPr/>
        </p:nvPicPr>
        <p:blipFill>
          <a:blip r:embed="rId7"/>
          <a:stretch>
            <a:fillRect/>
          </a:stretch>
        </p:blipFill>
        <p:spPr>
          <a:xfrm>
            <a:off x="6287348" y="2244197"/>
            <a:ext cx="2573406" cy="295275"/>
          </a:xfrm>
          <a:prstGeom prst="rect">
            <a:avLst/>
          </a:prstGeom>
        </p:spPr>
      </p:pic>
      <p:pic>
        <p:nvPicPr>
          <p:cNvPr id="17" name="Picture 16">
            <a:extLst>
              <a:ext uri="{FF2B5EF4-FFF2-40B4-BE49-F238E27FC236}">
                <a16:creationId xmlns:a16="http://schemas.microsoft.com/office/drawing/2014/main" id="{3D35D60C-7F14-4B46-8BCF-74681B772966}"/>
              </a:ext>
            </a:extLst>
          </p:cNvPr>
          <p:cNvPicPr>
            <a:picLocks noChangeAspect="1"/>
          </p:cNvPicPr>
          <p:nvPr/>
        </p:nvPicPr>
        <p:blipFill>
          <a:blip r:embed="rId8"/>
          <a:stretch>
            <a:fillRect/>
          </a:stretch>
        </p:blipFill>
        <p:spPr>
          <a:xfrm>
            <a:off x="6332981" y="2677469"/>
            <a:ext cx="1295400" cy="276225"/>
          </a:xfrm>
          <a:prstGeom prst="rect">
            <a:avLst/>
          </a:prstGeom>
        </p:spPr>
      </p:pic>
      <p:pic>
        <p:nvPicPr>
          <p:cNvPr id="18" name="Picture 17">
            <a:extLst>
              <a:ext uri="{FF2B5EF4-FFF2-40B4-BE49-F238E27FC236}">
                <a16:creationId xmlns:a16="http://schemas.microsoft.com/office/drawing/2014/main" id="{994FB6CE-8488-4B14-A68F-C771FC4382E4}"/>
              </a:ext>
            </a:extLst>
          </p:cNvPr>
          <p:cNvPicPr>
            <a:picLocks noChangeAspect="1"/>
          </p:cNvPicPr>
          <p:nvPr/>
        </p:nvPicPr>
        <p:blipFill>
          <a:blip r:embed="rId9"/>
          <a:stretch>
            <a:fillRect/>
          </a:stretch>
        </p:blipFill>
        <p:spPr>
          <a:xfrm>
            <a:off x="6363470" y="1296395"/>
            <a:ext cx="2114550" cy="409575"/>
          </a:xfrm>
          <a:prstGeom prst="rect">
            <a:avLst/>
          </a:prstGeom>
        </p:spPr>
      </p:pic>
      <p:pic>
        <p:nvPicPr>
          <p:cNvPr id="19" name="Picture 18">
            <a:extLst>
              <a:ext uri="{FF2B5EF4-FFF2-40B4-BE49-F238E27FC236}">
                <a16:creationId xmlns:a16="http://schemas.microsoft.com/office/drawing/2014/main" id="{BAC69BCE-EDB8-42F9-8034-9C582A5FBC5D}"/>
              </a:ext>
            </a:extLst>
          </p:cNvPr>
          <p:cNvPicPr>
            <a:picLocks noChangeAspect="1"/>
          </p:cNvPicPr>
          <p:nvPr/>
        </p:nvPicPr>
        <p:blipFill>
          <a:blip r:embed="rId10"/>
          <a:stretch>
            <a:fillRect/>
          </a:stretch>
        </p:blipFill>
        <p:spPr>
          <a:xfrm>
            <a:off x="6332981" y="3141406"/>
            <a:ext cx="1998021" cy="1645037"/>
          </a:xfrm>
          <a:prstGeom prst="rect">
            <a:avLst/>
          </a:prstGeom>
        </p:spPr>
      </p:pic>
    </p:spTree>
    <p:extLst>
      <p:ext uri="{BB962C8B-B14F-4D97-AF65-F5344CB8AC3E}">
        <p14:creationId xmlns:p14="http://schemas.microsoft.com/office/powerpoint/2010/main" val="5615433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Reporting</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72316" y="118927"/>
            <a:ext cx="788438" cy="788438"/>
          </a:xfrm>
          <a:prstGeom prst="rect">
            <a:avLst/>
          </a:prstGeom>
        </p:spPr>
      </p:pic>
      <p:sp>
        <p:nvSpPr>
          <p:cNvPr id="10" name="Content Placeholder 2">
            <a:extLst>
              <a:ext uri="{FF2B5EF4-FFF2-40B4-BE49-F238E27FC236}">
                <a16:creationId xmlns:a16="http://schemas.microsoft.com/office/drawing/2014/main" id="{0FE9FA28-BEA1-4888-9FEB-952FB1FC7476}"/>
              </a:ext>
            </a:extLst>
          </p:cNvPr>
          <p:cNvSpPr txBox="1">
            <a:spLocks/>
          </p:cNvSpPr>
          <p:nvPr/>
        </p:nvSpPr>
        <p:spPr>
          <a:xfrm>
            <a:off x="360975" y="1318848"/>
            <a:ext cx="7526547" cy="1911155"/>
          </a:xfrm>
          <a:prstGeom prst="rect">
            <a:avLst/>
          </a:prstGeom>
        </p:spPr>
        <p:txBody>
          <a:bodyPr>
            <a:norm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spcAft>
                <a:spcPts val="600"/>
              </a:spcAft>
            </a:pPr>
            <a:r>
              <a:rPr lang="en-AU" sz="1400" b="1" dirty="0">
                <a:solidFill>
                  <a:schemeClr val="accent5">
                    <a:lumMod val="75000"/>
                  </a:schemeClr>
                </a:solidFill>
              </a:rPr>
              <a:t>The FNMS system provides many reports and powerful configurable “custom views” out of the box</a:t>
            </a:r>
          </a:p>
          <a:p>
            <a:pPr>
              <a:lnSpc>
                <a:spcPct val="100000"/>
              </a:lnSpc>
              <a:spcBef>
                <a:spcPts val="600"/>
              </a:spcBef>
              <a:spcAft>
                <a:spcPts val="600"/>
              </a:spcAft>
            </a:pPr>
            <a:r>
              <a:rPr lang="en-AU" sz="1400" b="1" dirty="0">
                <a:solidFill>
                  <a:schemeClr val="accent5">
                    <a:lumMod val="75000"/>
                  </a:schemeClr>
                </a:solidFill>
              </a:rPr>
              <a:t>Discuss any specific known reporting needs that should be considered during design</a:t>
            </a:r>
          </a:p>
          <a:p>
            <a:pPr lvl="1">
              <a:lnSpc>
                <a:spcPct val="100000"/>
              </a:lnSpc>
              <a:spcBef>
                <a:spcPts val="600"/>
              </a:spcBef>
              <a:spcAft>
                <a:spcPts val="600"/>
              </a:spcAft>
            </a:pPr>
            <a:r>
              <a:rPr lang="en-AU" b="1" dirty="0">
                <a:solidFill>
                  <a:schemeClr val="accent5">
                    <a:lumMod val="75000"/>
                  </a:schemeClr>
                </a:solidFill>
              </a:rPr>
              <a:t>For example, do particular people/roles need specific reports from the system to help them do their job?</a:t>
            </a:r>
          </a:p>
        </p:txBody>
      </p:sp>
    </p:spTree>
    <p:extLst>
      <p:ext uri="{BB962C8B-B14F-4D97-AF65-F5344CB8AC3E}">
        <p14:creationId xmlns:p14="http://schemas.microsoft.com/office/powerpoint/2010/main" val="23010140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Oval 187">
            <a:extLst>
              <a:ext uri="{FF2B5EF4-FFF2-40B4-BE49-F238E27FC236}">
                <a16:creationId xmlns:a16="http://schemas.microsoft.com/office/drawing/2014/main" id="{8CE71AFD-F673-46D7-AF48-754F8AEF4B5A}"/>
              </a:ext>
            </a:extLst>
          </p:cNvPr>
          <p:cNvSpPr/>
          <p:nvPr/>
        </p:nvSpPr>
        <p:spPr>
          <a:xfrm>
            <a:off x="6182557" y="475861"/>
            <a:ext cx="617396" cy="617396"/>
          </a:xfrm>
          <a:prstGeom prst="ellipse">
            <a:avLst/>
          </a:prstGeom>
          <a:solidFill>
            <a:schemeClr val="bg1"/>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186" name="Oval 185">
            <a:extLst>
              <a:ext uri="{FF2B5EF4-FFF2-40B4-BE49-F238E27FC236}">
                <a16:creationId xmlns:a16="http://schemas.microsoft.com/office/drawing/2014/main" id="{0DF30297-AA3A-4A78-8709-89C1AA98C569}"/>
              </a:ext>
            </a:extLst>
          </p:cNvPr>
          <p:cNvSpPr/>
          <p:nvPr/>
        </p:nvSpPr>
        <p:spPr>
          <a:xfrm>
            <a:off x="3228866" y="469713"/>
            <a:ext cx="617396" cy="617396"/>
          </a:xfrm>
          <a:prstGeom prst="ellipse">
            <a:avLst/>
          </a:prstGeom>
          <a:solidFill>
            <a:schemeClr val="bg1"/>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45" name="OTLSHAPE_SL_79f05e8de72e4cc385fce875fa65517f_BackgroundRectangle">
            <a:extLst>
              <a:ext uri="{FF2B5EF4-FFF2-40B4-BE49-F238E27FC236}">
                <a16:creationId xmlns:a16="http://schemas.microsoft.com/office/drawing/2014/main" id="{BE22700D-D3B5-487A-89A3-17FF6F553013}"/>
              </a:ext>
            </a:extLst>
          </p:cNvPr>
          <p:cNvSpPr/>
          <p:nvPr>
            <p:custDataLst>
              <p:tags r:id="rId2"/>
            </p:custDataLst>
          </p:nvPr>
        </p:nvSpPr>
        <p:spPr>
          <a:xfrm>
            <a:off x="63500" y="1641475"/>
            <a:ext cx="8153400" cy="991447"/>
          </a:xfrm>
          <a:prstGeom prst="rect">
            <a:avLst/>
          </a:prstGeom>
          <a:solidFill>
            <a:srgbClr val="FFC000">
              <a:alpha val="14902"/>
            </a:srgb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51" name="OTLSHAPE_SL_8911bceb679441adb3756a794b682f31_BackgroundRectangle">
            <a:extLst>
              <a:ext uri="{FF2B5EF4-FFF2-40B4-BE49-F238E27FC236}">
                <a16:creationId xmlns:a16="http://schemas.microsoft.com/office/drawing/2014/main" id="{EABDDC54-996A-472F-8200-0C8850ED23C6}"/>
              </a:ext>
            </a:extLst>
          </p:cNvPr>
          <p:cNvSpPr/>
          <p:nvPr>
            <p:custDataLst>
              <p:tags r:id="rId3"/>
            </p:custDataLst>
          </p:nvPr>
        </p:nvSpPr>
        <p:spPr>
          <a:xfrm>
            <a:off x="63500" y="2696422"/>
            <a:ext cx="8153400" cy="1112520"/>
          </a:xfrm>
          <a:prstGeom prst="rect">
            <a:avLst/>
          </a:prstGeom>
          <a:solidFill>
            <a:srgbClr val="4472C4">
              <a:alpha val="14902"/>
            </a:srgb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54" name="OTLSHAPE_SL_9eb76584bb32452eac07fb2637baea1a_BackgroundRectangle">
            <a:extLst>
              <a:ext uri="{FF2B5EF4-FFF2-40B4-BE49-F238E27FC236}">
                <a16:creationId xmlns:a16="http://schemas.microsoft.com/office/drawing/2014/main" id="{603AA74C-E930-4ED6-8115-E40637D19E74}"/>
              </a:ext>
            </a:extLst>
          </p:cNvPr>
          <p:cNvSpPr/>
          <p:nvPr>
            <p:custDataLst>
              <p:tags r:id="rId4"/>
            </p:custDataLst>
          </p:nvPr>
        </p:nvSpPr>
        <p:spPr>
          <a:xfrm>
            <a:off x="63500" y="3872442"/>
            <a:ext cx="8153400" cy="1067647"/>
          </a:xfrm>
          <a:prstGeom prst="rect">
            <a:avLst/>
          </a:prstGeom>
          <a:solidFill>
            <a:srgbClr val="70AD47">
              <a:alpha val="14902"/>
            </a:srgb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3" name="OTLSHAPE_TB_00000000000000000000000000000000_RightEndCaps">
            <a:extLst>
              <a:ext uri="{FF2B5EF4-FFF2-40B4-BE49-F238E27FC236}">
                <a16:creationId xmlns:a16="http://schemas.microsoft.com/office/drawing/2014/main" id="{BC8E25A2-936B-4054-88D7-D43DAC37EE66}"/>
              </a:ext>
            </a:extLst>
          </p:cNvPr>
          <p:cNvSpPr txBox="1"/>
          <p:nvPr>
            <p:custDataLst>
              <p:tags r:id="rId5"/>
            </p:custDataLst>
          </p:nvPr>
        </p:nvSpPr>
        <p:spPr>
          <a:xfrm>
            <a:off x="8363034" y="1108244"/>
            <a:ext cx="451662" cy="279061"/>
          </a:xfrm>
          <a:prstGeom prst="rect">
            <a:avLst/>
          </a:prstGeom>
          <a:noFill/>
        </p:spPr>
        <p:txBody>
          <a:bodyPr vert="horz" wrap="none" lIns="0" tIns="0" rIns="0" bIns="0" rtlCol="0" anchor="ctr" anchorCtr="0">
            <a:spAutoFit/>
          </a:bodyPr>
          <a:lstStyle/>
          <a:p>
            <a:pPr algn="ctr"/>
            <a:r>
              <a:rPr lang="en-US" sz="1800" b="1" spc="-38">
                <a:solidFill>
                  <a:srgbClr val="ED7D31"/>
                </a:solidFill>
                <a:latin typeface="Calibri" panose="020F0502020204030204" pitchFamily="34" charset="0"/>
              </a:rPr>
              <a:t>2021</a:t>
            </a:r>
          </a:p>
        </p:txBody>
      </p:sp>
      <p:sp>
        <p:nvSpPr>
          <p:cNvPr id="229" name="OTLSHAPE_TB_00000000000000000000000000000000_LeftEndCaps" hidden="1">
            <a:extLst>
              <a:ext uri="{FF2B5EF4-FFF2-40B4-BE49-F238E27FC236}">
                <a16:creationId xmlns:a16="http://schemas.microsoft.com/office/drawing/2014/main" id="{6A8F8F27-1D8F-485E-83F8-4770BCB1FBC7}"/>
              </a:ext>
            </a:extLst>
          </p:cNvPr>
          <p:cNvSpPr txBox="1"/>
          <p:nvPr>
            <p:custDataLst>
              <p:tags r:id="rId6"/>
            </p:custDataLst>
          </p:nvPr>
        </p:nvSpPr>
        <p:spPr>
          <a:xfrm>
            <a:off x="-461946" y="-161798"/>
            <a:ext cx="927100" cy="558800"/>
          </a:xfrm>
          <a:prstGeom prst="rect">
            <a:avLst/>
          </a:prstGeom>
          <a:noFill/>
        </p:spPr>
        <p:txBody>
          <a:bodyPr vert="horz" wrap="none" lIns="0" tIns="0" rIns="0" bIns="0" rtlCol="0" anchor="ctr" anchorCtr="0">
            <a:spAutoFit/>
          </a:bodyPr>
          <a:lstStyle/>
          <a:p>
            <a:pPr algn="ctr"/>
            <a:r>
              <a:rPr lang="en-US" sz="3600" b="1">
                <a:solidFill>
                  <a:srgbClr val="ED7D31"/>
                </a:solidFill>
                <a:latin typeface="Calibri" panose="020F0502020204030204" pitchFamily="34" charset="0"/>
              </a:rPr>
              <a:t>2020</a:t>
            </a:r>
          </a:p>
        </p:txBody>
      </p:sp>
      <p:cxnSp>
        <p:nvCxnSpPr>
          <p:cNvPr id="315" name="OTLSHAPE_M_0e28a84cf6724e00a089964be0d24b0c_Connector1">
            <a:extLst>
              <a:ext uri="{FF2B5EF4-FFF2-40B4-BE49-F238E27FC236}">
                <a16:creationId xmlns:a16="http://schemas.microsoft.com/office/drawing/2014/main" id="{9299CECF-7B51-495B-B48C-CD2279F8FBD0}"/>
              </a:ext>
            </a:extLst>
          </p:cNvPr>
          <p:cNvCxnSpPr/>
          <p:nvPr>
            <p:custDataLst>
              <p:tags r:id="rId7"/>
            </p:custDataLst>
          </p:nvPr>
        </p:nvCxnSpPr>
        <p:spPr>
          <a:xfrm>
            <a:off x="7519132" y="278765"/>
            <a:ext cx="0" cy="778510"/>
          </a:xfrm>
          <a:prstGeom prst="line">
            <a:avLst/>
          </a:prstGeom>
          <a:ln w="14288" cap="flat" cmpd="sng" algn="ctr">
            <a:solidFill>
              <a:srgbClr val="4F81BD">
                <a:alpha val="49804"/>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7" name="OTLSHAPE_TB_00000000000000000000000000000000_ScaleContainer">
            <a:extLst>
              <a:ext uri="{FF2B5EF4-FFF2-40B4-BE49-F238E27FC236}">
                <a16:creationId xmlns:a16="http://schemas.microsoft.com/office/drawing/2014/main" id="{B6E819D8-DF64-45D9-BAE0-74D21ECD1EBF}"/>
              </a:ext>
            </a:extLst>
          </p:cNvPr>
          <p:cNvSpPr/>
          <p:nvPr>
            <p:custDataLst>
              <p:tags r:id="rId8"/>
            </p:custDataLst>
          </p:nvPr>
        </p:nvSpPr>
        <p:spPr>
          <a:xfrm>
            <a:off x="1396831" y="1057275"/>
            <a:ext cx="6819900" cy="381000"/>
          </a:xfrm>
          <a:prstGeom prst="rect">
            <a:avLst/>
          </a:prstGeom>
          <a:solidFill>
            <a:srgbClr val="595959"/>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46" name="OTLSHAPE_SL_79f05e8de72e4cc385fce875fa65517f_HeaderRectangle">
            <a:extLst>
              <a:ext uri="{FF2B5EF4-FFF2-40B4-BE49-F238E27FC236}">
                <a16:creationId xmlns:a16="http://schemas.microsoft.com/office/drawing/2014/main" id="{9B521ECB-9D71-4367-81C5-F9E101EBC6BA}"/>
              </a:ext>
            </a:extLst>
          </p:cNvPr>
          <p:cNvSpPr/>
          <p:nvPr>
            <p:custDataLst>
              <p:tags r:id="rId9"/>
            </p:custDataLst>
          </p:nvPr>
        </p:nvSpPr>
        <p:spPr>
          <a:xfrm>
            <a:off x="63500" y="1641475"/>
            <a:ext cx="1206500" cy="991447"/>
          </a:xfrm>
          <a:prstGeom prst="rect">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52" name="OTLSHAPE_SL_8911bceb679441adb3756a794b682f31_HeaderRectangle">
            <a:extLst>
              <a:ext uri="{FF2B5EF4-FFF2-40B4-BE49-F238E27FC236}">
                <a16:creationId xmlns:a16="http://schemas.microsoft.com/office/drawing/2014/main" id="{A28B05D8-1413-4C64-84F2-C903EBC58720}"/>
              </a:ext>
            </a:extLst>
          </p:cNvPr>
          <p:cNvSpPr/>
          <p:nvPr>
            <p:custDataLst>
              <p:tags r:id="rId10"/>
            </p:custDataLst>
          </p:nvPr>
        </p:nvSpPr>
        <p:spPr>
          <a:xfrm>
            <a:off x="63500" y="2696422"/>
            <a:ext cx="1206500" cy="1112520"/>
          </a:xfrm>
          <a:prstGeom prst="rect">
            <a:avLst/>
          </a:prstGeom>
          <a:solidFill>
            <a:srgbClr val="4472C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55" name="OTLSHAPE_SL_9eb76584bb32452eac07fb2637baea1a_HeaderRectangle">
            <a:extLst>
              <a:ext uri="{FF2B5EF4-FFF2-40B4-BE49-F238E27FC236}">
                <a16:creationId xmlns:a16="http://schemas.microsoft.com/office/drawing/2014/main" id="{8D0E9FE7-F8B4-413C-A284-6EAE4E97215A}"/>
              </a:ext>
            </a:extLst>
          </p:cNvPr>
          <p:cNvSpPr/>
          <p:nvPr>
            <p:custDataLst>
              <p:tags r:id="rId11"/>
            </p:custDataLst>
          </p:nvPr>
        </p:nvSpPr>
        <p:spPr>
          <a:xfrm>
            <a:off x="63500" y="3872442"/>
            <a:ext cx="1206500" cy="1067647"/>
          </a:xfrm>
          <a:prstGeom prst="rect">
            <a:avLst/>
          </a:prstGeom>
          <a:solidFill>
            <a:srgbClr val="70AD4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cxnSp>
        <p:nvCxnSpPr>
          <p:cNvPr id="57" name="OTLSHAPE_G_00000000000000000000000000000000_ShapeBelow0">
            <a:extLst>
              <a:ext uri="{FF2B5EF4-FFF2-40B4-BE49-F238E27FC236}">
                <a16:creationId xmlns:a16="http://schemas.microsoft.com/office/drawing/2014/main" id="{8BC1F465-1673-4FB0-839C-7E8A19DBBCE3}"/>
              </a:ext>
            </a:extLst>
          </p:cNvPr>
          <p:cNvCxnSpPr/>
          <p:nvPr>
            <p:custDataLst>
              <p:tags r:id="rId12"/>
            </p:custDataLst>
          </p:nvPr>
        </p:nvCxnSpPr>
        <p:spPr>
          <a:xfrm>
            <a:off x="2266081" y="1438275"/>
            <a:ext cx="0" cy="3501813"/>
          </a:xfrm>
          <a:prstGeom prst="line">
            <a:avLst/>
          </a:prstGeom>
          <a:ln w="14288" cap="flat" cmpd="sng" algn="ctr">
            <a:solidFill>
              <a:srgbClr val="4472C4">
                <a:alpha val="14902"/>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OTLSHAPE_G_00000000000000000000000000000000_ShapeBelow1">
            <a:extLst>
              <a:ext uri="{FF2B5EF4-FFF2-40B4-BE49-F238E27FC236}">
                <a16:creationId xmlns:a16="http://schemas.microsoft.com/office/drawing/2014/main" id="{4BA1B4DA-EC25-4762-845A-EEF9F7513F10}"/>
              </a:ext>
            </a:extLst>
          </p:cNvPr>
          <p:cNvCxnSpPr/>
          <p:nvPr>
            <p:custDataLst>
              <p:tags r:id="rId13"/>
            </p:custDataLst>
          </p:nvPr>
        </p:nvCxnSpPr>
        <p:spPr>
          <a:xfrm>
            <a:off x="3107292" y="1438275"/>
            <a:ext cx="0" cy="3501813"/>
          </a:xfrm>
          <a:prstGeom prst="line">
            <a:avLst/>
          </a:prstGeom>
          <a:ln w="14288" cap="flat" cmpd="sng" algn="ctr">
            <a:solidFill>
              <a:srgbClr val="4472C4">
                <a:alpha val="14902"/>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OTLSHAPE_G_00000000000000000000000000000000_ShapeBelow2">
            <a:extLst>
              <a:ext uri="{FF2B5EF4-FFF2-40B4-BE49-F238E27FC236}">
                <a16:creationId xmlns:a16="http://schemas.microsoft.com/office/drawing/2014/main" id="{52D18FF1-1930-40B6-9807-65250DBE56CC}"/>
              </a:ext>
            </a:extLst>
          </p:cNvPr>
          <p:cNvCxnSpPr/>
          <p:nvPr>
            <p:custDataLst>
              <p:tags r:id="rId14"/>
            </p:custDataLst>
          </p:nvPr>
        </p:nvCxnSpPr>
        <p:spPr>
          <a:xfrm>
            <a:off x="3976542" y="1438275"/>
            <a:ext cx="0" cy="3501813"/>
          </a:xfrm>
          <a:prstGeom prst="line">
            <a:avLst/>
          </a:prstGeom>
          <a:ln w="14288" cap="flat" cmpd="sng" algn="ctr">
            <a:solidFill>
              <a:srgbClr val="4472C4">
                <a:alpha val="14902"/>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OTLSHAPE_G_00000000000000000000000000000000_ShapeBelow3">
            <a:extLst>
              <a:ext uri="{FF2B5EF4-FFF2-40B4-BE49-F238E27FC236}">
                <a16:creationId xmlns:a16="http://schemas.microsoft.com/office/drawing/2014/main" id="{EDD8BD55-B66F-4533-BDE6-170D1DE0FB9E}"/>
              </a:ext>
            </a:extLst>
          </p:cNvPr>
          <p:cNvCxnSpPr/>
          <p:nvPr>
            <p:custDataLst>
              <p:tags r:id="rId15"/>
            </p:custDataLst>
          </p:nvPr>
        </p:nvCxnSpPr>
        <p:spPr>
          <a:xfrm>
            <a:off x="4817753" y="1438275"/>
            <a:ext cx="0" cy="3501813"/>
          </a:xfrm>
          <a:prstGeom prst="line">
            <a:avLst/>
          </a:prstGeom>
          <a:ln w="14288" cap="flat" cmpd="sng" algn="ctr">
            <a:solidFill>
              <a:srgbClr val="4472C4">
                <a:alpha val="14902"/>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OTLSHAPE_G_00000000000000000000000000000000_ShapeBelow4">
            <a:extLst>
              <a:ext uri="{FF2B5EF4-FFF2-40B4-BE49-F238E27FC236}">
                <a16:creationId xmlns:a16="http://schemas.microsoft.com/office/drawing/2014/main" id="{55F6AC18-5751-4C66-A6A4-0F8AA187B538}"/>
              </a:ext>
            </a:extLst>
          </p:cNvPr>
          <p:cNvCxnSpPr/>
          <p:nvPr>
            <p:custDataLst>
              <p:tags r:id="rId16"/>
            </p:custDataLst>
          </p:nvPr>
        </p:nvCxnSpPr>
        <p:spPr>
          <a:xfrm>
            <a:off x="5687003" y="1438275"/>
            <a:ext cx="0" cy="3501813"/>
          </a:xfrm>
          <a:prstGeom prst="line">
            <a:avLst/>
          </a:prstGeom>
          <a:ln w="14288" cap="flat" cmpd="sng" algn="ctr">
            <a:solidFill>
              <a:srgbClr val="4472C4">
                <a:alpha val="14902"/>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OTLSHAPE_G_00000000000000000000000000000000_ShapeBelow5">
            <a:extLst>
              <a:ext uri="{FF2B5EF4-FFF2-40B4-BE49-F238E27FC236}">
                <a16:creationId xmlns:a16="http://schemas.microsoft.com/office/drawing/2014/main" id="{DCA215FD-F6F2-400E-BEA3-1B1A9C34BF73}"/>
              </a:ext>
            </a:extLst>
          </p:cNvPr>
          <p:cNvCxnSpPr/>
          <p:nvPr>
            <p:custDataLst>
              <p:tags r:id="rId17"/>
            </p:custDataLst>
          </p:nvPr>
        </p:nvCxnSpPr>
        <p:spPr>
          <a:xfrm>
            <a:off x="6556254" y="1438275"/>
            <a:ext cx="0" cy="3501813"/>
          </a:xfrm>
          <a:prstGeom prst="line">
            <a:avLst/>
          </a:prstGeom>
          <a:ln w="14288" cap="flat" cmpd="sng" algn="ctr">
            <a:solidFill>
              <a:srgbClr val="4472C4">
                <a:alpha val="14902"/>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OTLSHAPE_G_00000000000000000000000000000000_ShapeBelow6">
            <a:extLst>
              <a:ext uri="{FF2B5EF4-FFF2-40B4-BE49-F238E27FC236}">
                <a16:creationId xmlns:a16="http://schemas.microsoft.com/office/drawing/2014/main" id="{875EE0AE-6773-4327-86D2-20D524615CF4}"/>
              </a:ext>
            </a:extLst>
          </p:cNvPr>
          <p:cNvCxnSpPr/>
          <p:nvPr>
            <p:custDataLst>
              <p:tags r:id="rId18"/>
            </p:custDataLst>
          </p:nvPr>
        </p:nvCxnSpPr>
        <p:spPr>
          <a:xfrm>
            <a:off x="7341384" y="1438275"/>
            <a:ext cx="0" cy="3501813"/>
          </a:xfrm>
          <a:prstGeom prst="line">
            <a:avLst/>
          </a:prstGeom>
          <a:ln w="14288" cap="flat" cmpd="sng" algn="ctr">
            <a:solidFill>
              <a:srgbClr val="4472C4">
                <a:alpha val="14902"/>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7" name="OTLSHAPE_SLT_cbc6053273674742982e85d542978064_Shape">
            <a:extLst>
              <a:ext uri="{FF2B5EF4-FFF2-40B4-BE49-F238E27FC236}">
                <a16:creationId xmlns:a16="http://schemas.microsoft.com/office/drawing/2014/main" id="{5E8C872B-A5CB-4AF5-9E2E-8888F8E1243A}"/>
              </a:ext>
            </a:extLst>
          </p:cNvPr>
          <p:cNvSpPr/>
          <p:nvPr>
            <p:custDataLst>
              <p:tags r:id="rId19"/>
            </p:custDataLst>
          </p:nvPr>
        </p:nvSpPr>
        <p:spPr>
          <a:xfrm>
            <a:off x="2854909" y="1679575"/>
            <a:ext cx="50800" cy="127000"/>
          </a:xfrm>
          <a:prstGeom prst="roundRect">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349" name="OTLSHAPE_SLT_2ff5b8e034b64a828622147da9a2f6b2_Shape">
            <a:extLst>
              <a:ext uri="{FF2B5EF4-FFF2-40B4-BE49-F238E27FC236}">
                <a16:creationId xmlns:a16="http://schemas.microsoft.com/office/drawing/2014/main" id="{22005B10-4194-4781-B7D2-E312E4141AEF}"/>
              </a:ext>
            </a:extLst>
          </p:cNvPr>
          <p:cNvSpPr/>
          <p:nvPr>
            <p:custDataLst>
              <p:tags r:id="rId20"/>
            </p:custDataLst>
          </p:nvPr>
        </p:nvSpPr>
        <p:spPr>
          <a:xfrm>
            <a:off x="2854909" y="1905212"/>
            <a:ext cx="317500" cy="127000"/>
          </a:xfrm>
          <a:prstGeom prst="roundRect">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92" name="OTLSHAPE_SLT_7ca32acd5908471a904296b070111595_Shape">
            <a:extLst>
              <a:ext uri="{FF2B5EF4-FFF2-40B4-BE49-F238E27FC236}">
                <a16:creationId xmlns:a16="http://schemas.microsoft.com/office/drawing/2014/main" id="{902DBAFC-7358-471B-B995-9BD75BDB11C9}"/>
              </a:ext>
            </a:extLst>
          </p:cNvPr>
          <p:cNvSpPr/>
          <p:nvPr>
            <p:custDataLst>
              <p:tags r:id="rId21"/>
            </p:custDataLst>
          </p:nvPr>
        </p:nvSpPr>
        <p:spPr>
          <a:xfrm>
            <a:off x="3247474" y="2216785"/>
            <a:ext cx="317500" cy="127000"/>
          </a:xfrm>
          <a:prstGeom prst="roundRect">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2" name="OTLSHAPE_SLT_47cbe89cdf5541999ae0d3ac526194f6_Shape">
            <a:extLst>
              <a:ext uri="{FF2B5EF4-FFF2-40B4-BE49-F238E27FC236}">
                <a16:creationId xmlns:a16="http://schemas.microsoft.com/office/drawing/2014/main" id="{901FE1FE-C9E8-4D22-A926-9B7D3FCB7B5D}"/>
              </a:ext>
            </a:extLst>
          </p:cNvPr>
          <p:cNvSpPr/>
          <p:nvPr>
            <p:custDataLst>
              <p:tags r:id="rId22"/>
            </p:custDataLst>
          </p:nvPr>
        </p:nvSpPr>
        <p:spPr>
          <a:xfrm>
            <a:off x="4032604" y="2734522"/>
            <a:ext cx="317500" cy="127000"/>
          </a:xfrm>
          <a:prstGeom prst="rect">
            <a:avLst/>
          </a:prstGeom>
          <a:solidFill>
            <a:srgbClr val="4472C4"/>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5" name="OTLSHAPE_SLT_546dc3323d74464a8ef6a4e6e53f36ea_Shape">
            <a:extLst>
              <a:ext uri="{FF2B5EF4-FFF2-40B4-BE49-F238E27FC236}">
                <a16:creationId xmlns:a16="http://schemas.microsoft.com/office/drawing/2014/main" id="{CF4E5792-015D-42D5-AC34-664DBF2E83D7}"/>
              </a:ext>
            </a:extLst>
          </p:cNvPr>
          <p:cNvSpPr/>
          <p:nvPr>
            <p:custDataLst>
              <p:tags r:id="rId23"/>
            </p:custDataLst>
          </p:nvPr>
        </p:nvSpPr>
        <p:spPr>
          <a:xfrm>
            <a:off x="4425169" y="2960158"/>
            <a:ext cx="317500" cy="127000"/>
          </a:xfrm>
          <a:prstGeom prst="rect">
            <a:avLst/>
          </a:prstGeom>
          <a:solidFill>
            <a:srgbClr val="4472C4"/>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15" name="OTLSHAPE_SLT_728670bf01094e668a93f6364e8de169_Shape">
            <a:extLst>
              <a:ext uri="{FF2B5EF4-FFF2-40B4-BE49-F238E27FC236}">
                <a16:creationId xmlns:a16="http://schemas.microsoft.com/office/drawing/2014/main" id="{5CFB0772-3756-480B-891B-ACB80178BEB7}"/>
              </a:ext>
            </a:extLst>
          </p:cNvPr>
          <p:cNvSpPr/>
          <p:nvPr>
            <p:custDataLst>
              <p:tags r:id="rId24"/>
            </p:custDataLst>
          </p:nvPr>
        </p:nvSpPr>
        <p:spPr>
          <a:xfrm>
            <a:off x="3640039" y="2467822"/>
            <a:ext cx="317500" cy="127000"/>
          </a:xfrm>
          <a:prstGeom prst="roundRect">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506"/>
          </a:p>
        </p:txBody>
      </p:sp>
      <p:sp>
        <p:nvSpPr>
          <p:cNvPr id="69" name="OTLSHAPE_SLT_ca3dbe400c15423493b6c02e5f17ffcf_Shape">
            <a:extLst>
              <a:ext uri="{FF2B5EF4-FFF2-40B4-BE49-F238E27FC236}">
                <a16:creationId xmlns:a16="http://schemas.microsoft.com/office/drawing/2014/main" id="{8ED26BE4-6D9B-4104-B8D4-1B26C8AEDDD8}"/>
              </a:ext>
            </a:extLst>
          </p:cNvPr>
          <p:cNvSpPr/>
          <p:nvPr>
            <p:custDataLst>
              <p:tags r:id="rId25"/>
            </p:custDataLst>
          </p:nvPr>
        </p:nvSpPr>
        <p:spPr>
          <a:xfrm>
            <a:off x="2854909" y="3910542"/>
            <a:ext cx="317500" cy="127000"/>
          </a:xfrm>
          <a:prstGeom prst="rect">
            <a:avLst/>
          </a:prstGeom>
          <a:solidFill>
            <a:srgbClr val="70AD47"/>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83" name="OTLSHAPE_SLT_07b98bcf678d4671aa63e6c90f0402aa_Shape">
            <a:extLst>
              <a:ext uri="{FF2B5EF4-FFF2-40B4-BE49-F238E27FC236}">
                <a16:creationId xmlns:a16="http://schemas.microsoft.com/office/drawing/2014/main" id="{CB6C6101-A369-4A56-A7C8-C1CF48A8C212}"/>
              </a:ext>
            </a:extLst>
          </p:cNvPr>
          <p:cNvSpPr/>
          <p:nvPr>
            <p:custDataLst>
              <p:tags r:id="rId26"/>
            </p:custDataLst>
          </p:nvPr>
        </p:nvSpPr>
        <p:spPr>
          <a:xfrm>
            <a:off x="3247474" y="4199678"/>
            <a:ext cx="317500" cy="127000"/>
          </a:xfrm>
          <a:prstGeom prst="rect">
            <a:avLst/>
          </a:prstGeom>
          <a:solidFill>
            <a:srgbClr val="70AD47"/>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05" name="OTLSHAPE_SLT_58ae6866241b4d6383514dfada952b78_Shape">
            <a:extLst>
              <a:ext uri="{FF2B5EF4-FFF2-40B4-BE49-F238E27FC236}">
                <a16:creationId xmlns:a16="http://schemas.microsoft.com/office/drawing/2014/main" id="{9A025B16-A0CF-4F73-9663-91DBABBAA5EC}"/>
              </a:ext>
            </a:extLst>
          </p:cNvPr>
          <p:cNvSpPr/>
          <p:nvPr>
            <p:custDataLst>
              <p:tags r:id="rId27"/>
            </p:custDataLst>
          </p:nvPr>
        </p:nvSpPr>
        <p:spPr>
          <a:xfrm>
            <a:off x="4817733" y="4488815"/>
            <a:ext cx="317500" cy="127000"/>
          </a:xfrm>
          <a:prstGeom prst="rect">
            <a:avLst/>
          </a:prstGeom>
          <a:solidFill>
            <a:srgbClr val="70AD47"/>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14" name="OTLSHAPE_SLT_155dc0df6f4143a8a05b7f187d16f3cb_Shape">
            <a:extLst>
              <a:ext uri="{FF2B5EF4-FFF2-40B4-BE49-F238E27FC236}">
                <a16:creationId xmlns:a16="http://schemas.microsoft.com/office/drawing/2014/main" id="{6A4933D9-D310-4428-9314-B10D61E98032}"/>
              </a:ext>
            </a:extLst>
          </p:cNvPr>
          <p:cNvSpPr/>
          <p:nvPr>
            <p:custDataLst>
              <p:tags r:id="rId28"/>
            </p:custDataLst>
          </p:nvPr>
        </p:nvSpPr>
        <p:spPr>
          <a:xfrm>
            <a:off x="3640039" y="4199678"/>
            <a:ext cx="317500" cy="127000"/>
          </a:xfrm>
          <a:prstGeom prst="rect">
            <a:avLst/>
          </a:prstGeom>
          <a:solidFill>
            <a:srgbClr val="70AD47"/>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35" name="OTLSHAPE_SLT_7bdba4668fa14a488e4a9a9748ee67d5_Shape">
            <a:extLst>
              <a:ext uri="{FF2B5EF4-FFF2-40B4-BE49-F238E27FC236}">
                <a16:creationId xmlns:a16="http://schemas.microsoft.com/office/drawing/2014/main" id="{6F243EDD-C620-495D-9D2A-5309EFBA0F37}"/>
              </a:ext>
            </a:extLst>
          </p:cNvPr>
          <p:cNvSpPr/>
          <p:nvPr>
            <p:custDataLst>
              <p:tags r:id="rId29"/>
            </p:custDataLst>
          </p:nvPr>
        </p:nvSpPr>
        <p:spPr>
          <a:xfrm>
            <a:off x="4060644" y="4199678"/>
            <a:ext cx="317500" cy="127000"/>
          </a:xfrm>
          <a:prstGeom prst="rect">
            <a:avLst/>
          </a:prstGeom>
          <a:solidFill>
            <a:srgbClr val="70AD47"/>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75" name="OTLSHAPE_SLT_306552f19e4949e9baca24d0b456eac2_Shape">
            <a:extLst>
              <a:ext uri="{FF2B5EF4-FFF2-40B4-BE49-F238E27FC236}">
                <a16:creationId xmlns:a16="http://schemas.microsoft.com/office/drawing/2014/main" id="{5514B543-ED44-4EE9-A71D-98188502CD06}"/>
              </a:ext>
            </a:extLst>
          </p:cNvPr>
          <p:cNvSpPr/>
          <p:nvPr>
            <p:custDataLst>
              <p:tags r:id="rId30"/>
            </p:custDataLst>
          </p:nvPr>
        </p:nvSpPr>
        <p:spPr>
          <a:xfrm>
            <a:off x="5210298" y="3271732"/>
            <a:ext cx="508000" cy="127000"/>
          </a:xfrm>
          <a:prstGeom prst="rect">
            <a:avLst/>
          </a:prstGeom>
          <a:solidFill>
            <a:srgbClr val="4472C4"/>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83" name="OTLSHAPE_SLT_67775a39050346d8907b6dc8e613e6e2_Shape">
            <a:extLst>
              <a:ext uri="{FF2B5EF4-FFF2-40B4-BE49-F238E27FC236}">
                <a16:creationId xmlns:a16="http://schemas.microsoft.com/office/drawing/2014/main" id="{DA06EA33-E9B1-435C-AF9B-CC4C58E3E15F}"/>
              </a:ext>
            </a:extLst>
          </p:cNvPr>
          <p:cNvSpPr/>
          <p:nvPr>
            <p:custDataLst>
              <p:tags r:id="rId31"/>
            </p:custDataLst>
          </p:nvPr>
        </p:nvSpPr>
        <p:spPr>
          <a:xfrm>
            <a:off x="5799146" y="3583305"/>
            <a:ext cx="317500" cy="127000"/>
          </a:xfrm>
          <a:prstGeom prst="rect">
            <a:avLst/>
          </a:prstGeom>
          <a:solidFill>
            <a:srgbClr val="4472C4"/>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215" name="OTLSHAPE_SLT_c10545ae124b445f98e117b285484894_Shape">
            <a:extLst>
              <a:ext uri="{FF2B5EF4-FFF2-40B4-BE49-F238E27FC236}">
                <a16:creationId xmlns:a16="http://schemas.microsoft.com/office/drawing/2014/main" id="{FAD2AF45-0740-49C4-AFBA-122DCDD2BECB}"/>
              </a:ext>
            </a:extLst>
          </p:cNvPr>
          <p:cNvSpPr/>
          <p:nvPr>
            <p:custDataLst>
              <p:tags r:id="rId32"/>
            </p:custDataLst>
          </p:nvPr>
        </p:nvSpPr>
        <p:spPr>
          <a:xfrm>
            <a:off x="4425169" y="4199678"/>
            <a:ext cx="317500" cy="127000"/>
          </a:xfrm>
          <a:prstGeom prst="rect">
            <a:avLst/>
          </a:prstGeom>
          <a:solidFill>
            <a:srgbClr val="70AD47"/>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231" name="OTLSHAPE_SLT_af2f662ff7c6490fa50afc03c2081960_Shape">
            <a:extLst>
              <a:ext uri="{FF2B5EF4-FFF2-40B4-BE49-F238E27FC236}">
                <a16:creationId xmlns:a16="http://schemas.microsoft.com/office/drawing/2014/main" id="{852A6B0A-6B56-4710-BC94-CFD9E776360D}"/>
              </a:ext>
            </a:extLst>
          </p:cNvPr>
          <p:cNvSpPr/>
          <p:nvPr>
            <p:custDataLst>
              <p:tags r:id="rId33"/>
            </p:custDataLst>
          </p:nvPr>
        </p:nvSpPr>
        <p:spPr>
          <a:xfrm>
            <a:off x="5210298" y="4714452"/>
            <a:ext cx="508000" cy="127000"/>
          </a:xfrm>
          <a:prstGeom prst="rect">
            <a:avLst/>
          </a:prstGeom>
          <a:solidFill>
            <a:srgbClr val="70AD47"/>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348" name="OTLSHAPE_SLT_cbc6053273674742982e85d542978064_ShapePercentage" hidden="1">
            <a:extLst>
              <a:ext uri="{FF2B5EF4-FFF2-40B4-BE49-F238E27FC236}">
                <a16:creationId xmlns:a16="http://schemas.microsoft.com/office/drawing/2014/main" id="{9D7831C2-8002-4BAC-88A3-8872855ABA8C}"/>
              </a:ext>
            </a:extLst>
          </p:cNvPr>
          <p:cNvSpPr/>
          <p:nvPr>
            <p:custDataLst>
              <p:tags r:id="rId34"/>
            </p:custDataLst>
          </p:nvPr>
        </p:nvSpPr>
        <p:spPr>
          <a:xfrm>
            <a:off x="2854909" y="1679575"/>
            <a:ext cx="0" cy="0"/>
          </a:xfrm>
          <a:prstGeom prst="round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350" name="OTLSHAPE_SLT_2ff5b8e034b64a828622147da9a2f6b2_ShapePercentage" hidden="1">
            <a:extLst>
              <a:ext uri="{FF2B5EF4-FFF2-40B4-BE49-F238E27FC236}">
                <a16:creationId xmlns:a16="http://schemas.microsoft.com/office/drawing/2014/main" id="{791B5BB8-354B-4058-9F56-945A557B57BC}"/>
              </a:ext>
            </a:extLst>
          </p:cNvPr>
          <p:cNvSpPr/>
          <p:nvPr>
            <p:custDataLst>
              <p:tags r:id="rId35"/>
            </p:custDataLst>
          </p:nvPr>
        </p:nvSpPr>
        <p:spPr>
          <a:xfrm>
            <a:off x="2854909" y="1905212"/>
            <a:ext cx="0" cy="0"/>
          </a:xfrm>
          <a:prstGeom prst="round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93" name="OTLSHAPE_SLT_7ca32acd5908471a904296b070111595_ShapePercentage" hidden="1">
            <a:extLst>
              <a:ext uri="{FF2B5EF4-FFF2-40B4-BE49-F238E27FC236}">
                <a16:creationId xmlns:a16="http://schemas.microsoft.com/office/drawing/2014/main" id="{19B2528C-FA6B-4ABA-817A-DD30DB1FCE9B}"/>
              </a:ext>
            </a:extLst>
          </p:cNvPr>
          <p:cNvSpPr/>
          <p:nvPr>
            <p:custDataLst>
              <p:tags r:id="rId36"/>
            </p:custDataLst>
          </p:nvPr>
        </p:nvSpPr>
        <p:spPr>
          <a:xfrm>
            <a:off x="3247474" y="2216785"/>
            <a:ext cx="0" cy="0"/>
          </a:xfrm>
          <a:prstGeom prst="round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107" name="OTLSHAPE_SLM_0919ae8ef9ce4bc889749ffc4f892b56_Shape">
            <a:extLst>
              <a:ext uri="{FF2B5EF4-FFF2-40B4-BE49-F238E27FC236}">
                <a16:creationId xmlns:a16="http://schemas.microsoft.com/office/drawing/2014/main" id="{E4DF0909-C8C9-4B6B-A65B-EC60CB409F48}"/>
              </a:ext>
            </a:extLst>
          </p:cNvPr>
          <p:cNvSpPr/>
          <p:nvPr>
            <p:custDataLst>
              <p:tags r:id="rId37"/>
            </p:custDataLst>
          </p:nvPr>
        </p:nvSpPr>
        <p:spPr>
          <a:xfrm>
            <a:off x="4741533" y="2934758"/>
            <a:ext cx="152400" cy="177800"/>
          </a:xfrm>
          <a:prstGeom prst="diamond">
            <a:avLst/>
          </a:prstGeom>
          <a:solidFill>
            <a:srgbClr val="6F3198"/>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4" name="OTLSHAPE_SLT_47cbe89cdf5541999ae0d3ac526194f6_ShapePercentage" hidden="1">
            <a:extLst>
              <a:ext uri="{FF2B5EF4-FFF2-40B4-BE49-F238E27FC236}">
                <a16:creationId xmlns:a16="http://schemas.microsoft.com/office/drawing/2014/main" id="{D7679C16-EF96-468B-9422-80AC348BE509}"/>
              </a:ext>
            </a:extLst>
          </p:cNvPr>
          <p:cNvSpPr/>
          <p:nvPr>
            <p:custDataLst>
              <p:tags r:id="rId38"/>
            </p:custDataLst>
          </p:nvPr>
        </p:nvSpPr>
        <p:spPr>
          <a:xfrm>
            <a:off x="4032604" y="2734522"/>
            <a:ext cx="0" cy="0"/>
          </a:xfrm>
          <a:prstGeom prst="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7" name="OTLSHAPE_SLT_546dc3323d74464a8ef6a4e6e53f36ea_ShapePercentage" hidden="1">
            <a:extLst>
              <a:ext uri="{FF2B5EF4-FFF2-40B4-BE49-F238E27FC236}">
                <a16:creationId xmlns:a16="http://schemas.microsoft.com/office/drawing/2014/main" id="{6266F1FB-6838-4772-8228-A03BD4B67288}"/>
              </a:ext>
            </a:extLst>
          </p:cNvPr>
          <p:cNvSpPr/>
          <p:nvPr>
            <p:custDataLst>
              <p:tags r:id="rId39"/>
            </p:custDataLst>
          </p:nvPr>
        </p:nvSpPr>
        <p:spPr>
          <a:xfrm>
            <a:off x="4425169" y="2960158"/>
            <a:ext cx="0" cy="0"/>
          </a:xfrm>
          <a:prstGeom prst="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49" name="OTLSHAPE_SLM_96c9556a7149459ab1aa5830ee29e508_Shape">
            <a:extLst>
              <a:ext uri="{FF2B5EF4-FFF2-40B4-BE49-F238E27FC236}">
                <a16:creationId xmlns:a16="http://schemas.microsoft.com/office/drawing/2014/main" id="{2338A3DC-9F3A-43F1-97C5-2FCB63EBE7E9}"/>
              </a:ext>
            </a:extLst>
          </p:cNvPr>
          <p:cNvSpPr/>
          <p:nvPr>
            <p:custDataLst>
              <p:tags r:id="rId40"/>
            </p:custDataLst>
          </p:nvPr>
        </p:nvSpPr>
        <p:spPr>
          <a:xfrm>
            <a:off x="3535799" y="2191385"/>
            <a:ext cx="152400" cy="177800"/>
          </a:xfrm>
          <a:prstGeom prst="diamond">
            <a:avLst/>
          </a:prstGeom>
          <a:solidFill>
            <a:srgbClr val="A47D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506"/>
          </a:p>
        </p:txBody>
      </p:sp>
      <p:sp>
        <p:nvSpPr>
          <p:cNvPr id="116" name="OTLSHAPE_SLT_728670bf01094e668a93f6364e8de169_ShapePercentage" hidden="1">
            <a:extLst>
              <a:ext uri="{FF2B5EF4-FFF2-40B4-BE49-F238E27FC236}">
                <a16:creationId xmlns:a16="http://schemas.microsoft.com/office/drawing/2014/main" id="{B5A7D720-4160-4E64-8D47-6C6759586ED8}"/>
              </a:ext>
            </a:extLst>
          </p:cNvPr>
          <p:cNvSpPr/>
          <p:nvPr>
            <p:custDataLst>
              <p:tags r:id="rId41"/>
            </p:custDataLst>
          </p:nvPr>
        </p:nvSpPr>
        <p:spPr>
          <a:xfrm>
            <a:off x="3640039" y="2467822"/>
            <a:ext cx="0" cy="0"/>
          </a:xfrm>
          <a:prstGeom prst="round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506"/>
          </a:p>
        </p:txBody>
      </p:sp>
      <p:sp>
        <p:nvSpPr>
          <p:cNvPr id="136" name="OTLSHAPE_SLM_32bf83aed685467d8920db510037242f_Shape">
            <a:extLst>
              <a:ext uri="{FF2B5EF4-FFF2-40B4-BE49-F238E27FC236}">
                <a16:creationId xmlns:a16="http://schemas.microsoft.com/office/drawing/2014/main" id="{9924948D-2229-412B-BD4B-FAF13025D811}"/>
              </a:ext>
            </a:extLst>
          </p:cNvPr>
          <p:cNvSpPr/>
          <p:nvPr>
            <p:custDataLst>
              <p:tags r:id="rId42"/>
            </p:custDataLst>
          </p:nvPr>
        </p:nvSpPr>
        <p:spPr>
          <a:xfrm>
            <a:off x="3171274" y="1879812"/>
            <a:ext cx="152400" cy="177800"/>
          </a:xfrm>
          <a:prstGeom prst="diamond">
            <a:avLst/>
          </a:prstGeom>
          <a:solidFill>
            <a:srgbClr val="A47D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506"/>
          </a:p>
        </p:txBody>
      </p:sp>
      <p:sp>
        <p:nvSpPr>
          <p:cNvPr id="68" name="OTLSHAPE_TB_00000000000000000000000000000000_ElapsedTime" hidden="1">
            <a:extLst>
              <a:ext uri="{FF2B5EF4-FFF2-40B4-BE49-F238E27FC236}">
                <a16:creationId xmlns:a16="http://schemas.microsoft.com/office/drawing/2014/main" id="{C71FFB35-9F3B-4B4F-8FBC-857E6DDCF303}"/>
              </a:ext>
            </a:extLst>
          </p:cNvPr>
          <p:cNvSpPr/>
          <p:nvPr>
            <p:custDataLst>
              <p:tags r:id="rId43"/>
            </p:custDataLst>
          </p:nvPr>
        </p:nvSpPr>
        <p:spPr>
          <a:xfrm>
            <a:off x="0" y="0"/>
            <a:ext cx="0" cy="0"/>
          </a:xfrm>
          <a:prstGeom prst="rect">
            <a:avLst/>
          </a:prstGeom>
          <a:solidFill>
            <a:srgbClr val="FF0000">
              <a:alpha val="74902"/>
            </a:srgb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76" name="OTLSHAPE_SLT_ca3dbe400c15423493b6c02e5f17ffcf_ShapePercentage" hidden="1">
            <a:extLst>
              <a:ext uri="{FF2B5EF4-FFF2-40B4-BE49-F238E27FC236}">
                <a16:creationId xmlns:a16="http://schemas.microsoft.com/office/drawing/2014/main" id="{EE381A9E-2C39-482D-B4FF-5FBBA7C6C102}"/>
              </a:ext>
            </a:extLst>
          </p:cNvPr>
          <p:cNvSpPr/>
          <p:nvPr>
            <p:custDataLst>
              <p:tags r:id="rId44"/>
            </p:custDataLst>
          </p:nvPr>
        </p:nvSpPr>
        <p:spPr>
          <a:xfrm>
            <a:off x="2854909" y="3910542"/>
            <a:ext cx="0" cy="0"/>
          </a:xfrm>
          <a:prstGeom prst="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84" name="OTLSHAPE_SLT_07b98bcf678d4671aa63e6c90f0402aa_ShapePercentage" hidden="1">
            <a:extLst>
              <a:ext uri="{FF2B5EF4-FFF2-40B4-BE49-F238E27FC236}">
                <a16:creationId xmlns:a16="http://schemas.microsoft.com/office/drawing/2014/main" id="{15297E10-608B-493D-AC4F-077123706B47}"/>
              </a:ext>
            </a:extLst>
          </p:cNvPr>
          <p:cNvSpPr/>
          <p:nvPr>
            <p:custDataLst>
              <p:tags r:id="rId45"/>
            </p:custDataLst>
          </p:nvPr>
        </p:nvSpPr>
        <p:spPr>
          <a:xfrm>
            <a:off x="3247474" y="4199678"/>
            <a:ext cx="0" cy="0"/>
          </a:xfrm>
          <a:prstGeom prst="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06" name="OTLSHAPE_SLT_58ae6866241b4d6383514dfada952b78_ShapePercentage" hidden="1">
            <a:extLst>
              <a:ext uri="{FF2B5EF4-FFF2-40B4-BE49-F238E27FC236}">
                <a16:creationId xmlns:a16="http://schemas.microsoft.com/office/drawing/2014/main" id="{76123E8F-E7E4-4F32-81B2-14C41689112B}"/>
              </a:ext>
            </a:extLst>
          </p:cNvPr>
          <p:cNvSpPr/>
          <p:nvPr>
            <p:custDataLst>
              <p:tags r:id="rId46"/>
            </p:custDataLst>
          </p:nvPr>
        </p:nvSpPr>
        <p:spPr>
          <a:xfrm>
            <a:off x="4817733" y="4488815"/>
            <a:ext cx="0" cy="0"/>
          </a:xfrm>
          <a:prstGeom prst="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27" name="OTLSHAPE_SLT_155dc0df6f4143a8a05b7f187d16f3cb_ShapePercentage" hidden="1">
            <a:extLst>
              <a:ext uri="{FF2B5EF4-FFF2-40B4-BE49-F238E27FC236}">
                <a16:creationId xmlns:a16="http://schemas.microsoft.com/office/drawing/2014/main" id="{4A679FA2-7A32-4B7B-94DD-D6B05D940F4A}"/>
              </a:ext>
            </a:extLst>
          </p:cNvPr>
          <p:cNvSpPr/>
          <p:nvPr>
            <p:custDataLst>
              <p:tags r:id="rId47"/>
            </p:custDataLst>
          </p:nvPr>
        </p:nvSpPr>
        <p:spPr>
          <a:xfrm>
            <a:off x="3640039" y="4199678"/>
            <a:ext cx="0" cy="0"/>
          </a:xfrm>
          <a:prstGeom prst="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39" name="OTLSHAPE_SLT_7bdba4668fa14a488e4a9a9748ee67d5_ShapePercentage" hidden="1">
            <a:extLst>
              <a:ext uri="{FF2B5EF4-FFF2-40B4-BE49-F238E27FC236}">
                <a16:creationId xmlns:a16="http://schemas.microsoft.com/office/drawing/2014/main" id="{2596A7A0-AE3D-4C65-A6F4-89BDCDA432D3}"/>
              </a:ext>
            </a:extLst>
          </p:cNvPr>
          <p:cNvSpPr/>
          <p:nvPr>
            <p:custDataLst>
              <p:tags r:id="rId48"/>
            </p:custDataLst>
          </p:nvPr>
        </p:nvSpPr>
        <p:spPr>
          <a:xfrm>
            <a:off x="4060644" y="4199678"/>
            <a:ext cx="0" cy="0"/>
          </a:xfrm>
          <a:prstGeom prst="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49" name="OTLSHAPE_SLM_097fe035032e4cfe9e89d23ddd8d50cc_Shape">
            <a:extLst>
              <a:ext uri="{FF2B5EF4-FFF2-40B4-BE49-F238E27FC236}">
                <a16:creationId xmlns:a16="http://schemas.microsoft.com/office/drawing/2014/main" id="{C9835D52-E199-43EF-889B-C725D114B1D8}"/>
              </a:ext>
            </a:extLst>
          </p:cNvPr>
          <p:cNvSpPr/>
          <p:nvPr>
            <p:custDataLst>
              <p:tags r:id="rId49"/>
            </p:custDataLst>
          </p:nvPr>
        </p:nvSpPr>
        <p:spPr>
          <a:xfrm>
            <a:off x="5835107" y="4689052"/>
            <a:ext cx="152400" cy="177800"/>
          </a:xfrm>
          <a:prstGeom prst="diamond">
            <a:avLst/>
          </a:prstGeom>
          <a:solidFill>
            <a:srgbClr val="106D2A"/>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76" name="OTLSHAPE_SLT_306552f19e4949e9baca24d0b456eac2_ShapePercentage" hidden="1">
            <a:extLst>
              <a:ext uri="{FF2B5EF4-FFF2-40B4-BE49-F238E27FC236}">
                <a16:creationId xmlns:a16="http://schemas.microsoft.com/office/drawing/2014/main" id="{DE89530D-39F7-4279-A9C6-1AC92A012EE7}"/>
              </a:ext>
            </a:extLst>
          </p:cNvPr>
          <p:cNvSpPr/>
          <p:nvPr>
            <p:custDataLst>
              <p:tags r:id="rId50"/>
            </p:custDataLst>
          </p:nvPr>
        </p:nvSpPr>
        <p:spPr>
          <a:xfrm>
            <a:off x="5210298" y="3271732"/>
            <a:ext cx="0" cy="0"/>
          </a:xfrm>
          <a:prstGeom prst="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87" name="OTLSHAPE_SLT_67775a39050346d8907b6dc8e613e6e2_ShapePercentage" hidden="1">
            <a:extLst>
              <a:ext uri="{FF2B5EF4-FFF2-40B4-BE49-F238E27FC236}">
                <a16:creationId xmlns:a16="http://schemas.microsoft.com/office/drawing/2014/main" id="{E8D05224-D820-4FB8-89F4-98AF443AFFBE}"/>
              </a:ext>
            </a:extLst>
          </p:cNvPr>
          <p:cNvSpPr/>
          <p:nvPr>
            <p:custDataLst>
              <p:tags r:id="rId51"/>
            </p:custDataLst>
          </p:nvPr>
        </p:nvSpPr>
        <p:spPr>
          <a:xfrm>
            <a:off x="5799146" y="3583305"/>
            <a:ext cx="0" cy="0"/>
          </a:xfrm>
          <a:prstGeom prst="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205" name="OTLSHAPE_SLM_16a9f781fbcf4348a90d41835fa3249e_Shape">
            <a:extLst>
              <a:ext uri="{FF2B5EF4-FFF2-40B4-BE49-F238E27FC236}">
                <a16:creationId xmlns:a16="http://schemas.microsoft.com/office/drawing/2014/main" id="{73D52769-24FE-4247-8331-AE22D3E0580E}"/>
              </a:ext>
            </a:extLst>
          </p:cNvPr>
          <p:cNvSpPr/>
          <p:nvPr>
            <p:custDataLst>
              <p:tags r:id="rId52"/>
            </p:custDataLst>
          </p:nvPr>
        </p:nvSpPr>
        <p:spPr>
          <a:xfrm>
            <a:off x="5722946" y="3246332"/>
            <a:ext cx="152400" cy="177800"/>
          </a:xfrm>
          <a:prstGeom prst="diamond">
            <a:avLst/>
          </a:prstGeom>
          <a:solidFill>
            <a:srgbClr val="6F3198"/>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239" name="OTLSHAPE_SLM_26c569c01e6a47b8b9bb6219068dc08e_Shape">
            <a:extLst>
              <a:ext uri="{FF2B5EF4-FFF2-40B4-BE49-F238E27FC236}">
                <a16:creationId xmlns:a16="http://schemas.microsoft.com/office/drawing/2014/main" id="{17CF85B8-1EC3-4FB5-B16E-86FA6714BE61}"/>
              </a:ext>
            </a:extLst>
          </p:cNvPr>
          <p:cNvSpPr/>
          <p:nvPr>
            <p:custDataLst>
              <p:tags r:id="rId53"/>
            </p:custDataLst>
          </p:nvPr>
        </p:nvSpPr>
        <p:spPr>
          <a:xfrm>
            <a:off x="6227672" y="3557905"/>
            <a:ext cx="152400" cy="177800"/>
          </a:xfrm>
          <a:prstGeom prst="diamond">
            <a:avLst/>
          </a:prstGeom>
          <a:solidFill>
            <a:srgbClr val="6F3198"/>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216" name="OTLSHAPE_SLT_c10545ae124b445f98e117b285484894_ShapePercentage" hidden="1">
            <a:extLst>
              <a:ext uri="{FF2B5EF4-FFF2-40B4-BE49-F238E27FC236}">
                <a16:creationId xmlns:a16="http://schemas.microsoft.com/office/drawing/2014/main" id="{AA1522DE-89B3-4F8F-BEF6-EE51CA584BC8}"/>
              </a:ext>
            </a:extLst>
          </p:cNvPr>
          <p:cNvSpPr/>
          <p:nvPr>
            <p:custDataLst>
              <p:tags r:id="rId54"/>
            </p:custDataLst>
          </p:nvPr>
        </p:nvSpPr>
        <p:spPr>
          <a:xfrm>
            <a:off x="4425169" y="4199678"/>
            <a:ext cx="0" cy="0"/>
          </a:xfrm>
          <a:prstGeom prst="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232" name="OTLSHAPE_SLT_af2f662ff7c6490fa50afc03c2081960_ShapePercentage" hidden="1">
            <a:extLst>
              <a:ext uri="{FF2B5EF4-FFF2-40B4-BE49-F238E27FC236}">
                <a16:creationId xmlns:a16="http://schemas.microsoft.com/office/drawing/2014/main" id="{2D19F888-3151-43FF-84F9-2F066DB5737D}"/>
              </a:ext>
            </a:extLst>
          </p:cNvPr>
          <p:cNvSpPr/>
          <p:nvPr>
            <p:custDataLst>
              <p:tags r:id="rId55"/>
            </p:custDataLst>
          </p:nvPr>
        </p:nvSpPr>
        <p:spPr>
          <a:xfrm>
            <a:off x="5210298" y="4714452"/>
            <a:ext cx="0" cy="0"/>
          </a:xfrm>
          <a:prstGeom prst="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47" name="OTLSHAPE_SL_79f05e8de72e4cc385fce875fa65517f_Header">
            <a:extLst>
              <a:ext uri="{FF2B5EF4-FFF2-40B4-BE49-F238E27FC236}">
                <a16:creationId xmlns:a16="http://schemas.microsoft.com/office/drawing/2014/main" id="{AB3A244B-7AE8-4D9C-AAE6-BEEB782327D9}"/>
              </a:ext>
            </a:extLst>
          </p:cNvPr>
          <p:cNvSpPr txBox="1"/>
          <p:nvPr>
            <p:custDataLst>
              <p:tags r:id="rId56"/>
            </p:custDataLst>
          </p:nvPr>
        </p:nvSpPr>
        <p:spPr>
          <a:xfrm>
            <a:off x="63500" y="2059686"/>
            <a:ext cx="1206500" cy="155025"/>
          </a:xfrm>
          <a:prstGeom prst="rect">
            <a:avLst/>
          </a:prstGeom>
          <a:noFill/>
        </p:spPr>
        <p:txBody>
          <a:bodyPr vert="horz" wrap="square" lIns="0" tIns="0" rIns="0" bIns="0" rtlCol="0" anchor="ctr" anchorCtr="0">
            <a:noAutofit/>
          </a:bodyPr>
          <a:lstStyle/>
          <a:p>
            <a:pPr algn="ctr"/>
            <a:r>
              <a:rPr lang="en-US" sz="1000" b="1" dirty="0">
                <a:solidFill>
                  <a:schemeClr val="lt1"/>
                </a:solidFill>
                <a:latin typeface="Calibri" panose="020F0502020204030204" pitchFamily="34" charset="0"/>
              </a:rPr>
              <a:t>Planning and Design</a:t>
            </a:r>
          </a:p>
        </p:txBody>
      </p:sp>
      <p:sp>
        <p:nvSpPr>
          <p:cNvPr id="53" name="OTLSHAPE_SL_8911bceb679441adb3756a794b682f31_Header">
            <a:extLst>
              <a:ext uri="{FF2B5EF4-FFF2-40B4-BE49-F238E27FC236}">
                <a16:creationId xmlns:a16="http://schemas.microsoft.com/office/drawing/2014/main" id="{7DF5AE9F-5899-4B36-B4BC-CDDC68A9D5DC}"/>
              </a:ext>
            </a:extLst>
          </p:cNvPr>
          <p:cNvSpPr txBox="1"/>
          <p:nvPr>
            <p:custDataLst>
              <p:tags r:id="rId57"/>
            </p:custDataLst>
          </p:nvPr>
        </p:nvSpPr>
        <p:spPr>
          <a:xfrm>
            <a:off x="63500" y="3175169"/>
            <a:ext cx="1206500" cy="155025"/>
          </a:xfrm>
          <a:prstGeom prst="rect">
            <a:avLst/>
          </a:prstGeom>
          <a:noFill/>
        </p:spPr>
        <p:txBody>
          <a:bodyPr vert="horz" wrap="square" lIns="0" tIns="0" rIns="0" bIns="0" rtlCol="0" anchor="ctr" anchorCtr="0">
            <a:noAutofit/>
          </a:bodyPr>
          <a:lstStyle/>
          <a:p>
            <a:pPr algn="ctr"/>
            <a:r>
              <a:rPr lang="en-US" sz="1000" b="1" dirty="0">
                <a:solidFill>
                  <a:schemeClr val="lt1"/>
                </a:solidFill>
                <a:latin typeface="Calibri" panose="020F0502020204030204" pitchFamily="34" charset="0"/>
              </a:rPr>
              <a:t>Tools Implementation</a:t>
            </a:r>
          </a:p>
        </p:txBody>
      </p:sp>
      <p:sp>
        <p:nvSpPr>
          <p:cNvPr id="56" name="OTLSHAPE_SL_9eb76584bb32452eac07fb2637baea1a_Header">
            <a:extLst>
              <a:ext uri="{FF2B5EF4-FFF2-40B4-BE49-F238E27FC236}">
                <a16:creationId xmlns:a16="http://schemas.microsoft.com/office/drawing/2014/main" id="{2ECC8765-B1DE-44DE-B2FA-D910BDA36A0A}"/>
              </a:ext>
            </a:extLst>
          </p:cNvPr>
          <p:cNvSpPr txBox="1"/>
          <p:nvPr>
            <p:custDataLst>
              <p:tags r:id="rId58"/>
            </p:custDataLst>
          </p:nvPr>
        </p:nvSpPr>
        <p:spPr>
          <a:xfrm>
            <a:off x="63500" y="4328753"/>
            <a:ext cx="1206500" cy="155025"/>
          </a:xfrm>
          <a:prstGeom prst="rect">
            <a:avLst/>
          </a:prstGeom>
          <a:noFill/>
        </p:spPr>
        <p:txBody>
          <a:bodyPr vert="horz" wrap="square" lIns="0" tIns="0" rIns="0" bIns="0" rtlCol="0" anchor="ctr" anchorCtr="0">
            <a:noAutofit/>
          </a:bodyPr>
          <a:lstStyle/>
          <a:p>
            <a:pPr algn="ctr"/>
            <a:r>
              <a:rPr lang="en-US" sz="1000" b="1" dirty="0">
                <a:solidFill>
                  <a:schemeClr val="lt1"/>
                </a:solidFill>
                <a:latin typeface="Calibri" panose="020F0502020204030204" pitchFamily="34" charset="0"/>
              </a:rPr>
              <a:t>Vendor Onboarding</a:t>
            </a:r>
          </a:p>
        </p:txBody>
      </p:sp>
      <p:sp>
        <p:nvSpPr>
          <p:cNvPr id="6" name="OTLSHAPE_TB_00000000000000000000000000000000_TodayMarkerShape" hidden="1">
            <a:extLst>
              <a:ext uri="{FF2B5EF4-FFF2-40B4-BE49-F238E27FC236}">
                <a16:creationId xmlns:a16="http://schemas.microsoft.com/office/drawing/2014/main" id="{5ACA1FEC-F303-4B6B-B3C2-F9BBCE5E556D}"/>
              </a:ext>
            </a:extLst>
          </p:cNvPr>
          <p:cNvSpPr/>
          <p:nvPr>
            <p:custDataLst>
              <p:tags r:id="rId59"/>
            </p:custDataLst>
          </p:nvPr>
        </p:nvSpPr>
        <p:spPr>
          <a:xfrm>
            <a:off x="2280053" y="1438275"/>
            <a:ext cx="114300" cy="127000"/>
          </a:xfrm>
          <a:prstGeom prst="triangl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7" name="OTLSHAPE_TB_00000000000000000000000000000000_TodayMarkerText" hidden="1">
            <a:extLst>
              <a:ext uri="{FF2B5EF4-FFF2-40B4-BE49-F238E27FC236}">
                <a16:creationId xmlns:a16="http://schemas.microsoft.com/office/drawing/2014/main" id="{C6089B8D-A6EE-4D43-887C-B902E9463497}"/>
              </a:ext>
            </a:extLst>
          </p:cNvPr>
          <p:cNvSpPr txBox="1"/>
          <p:nvPr>
            <p:custDataLst>
              <p:tags r:id="rId60"/>
            </p:custDataLst>
          </p:nvPr>
        </p:nvSpPr>
        <p:spPr>
          <a:xfrm>
            <a:off x="5710748" y="1263553"/>
            <a:ext cx="0" cy="0"/>
          </a:xfrm>
          <a:prstGeom prst="rect">
            <a:avLst/>
          </a:prstGeom>
          <a:noFill/>
        </p:spPr>
        <p:txBody>
          <a:bodyPr vert="horz" wrap="none" lIns="0" tIns="0" rIns="0" bIns="0" rtlCol="0" anchor="ctr" anchorCtr="0">
            <a:spAutoFit/>
          </a:bodyPr>
          <a:lstStyle/>
          <a:p>
            <a:pPr algn="ctr"/>
            <a:r>
              <a:rPr lang="en-US" sz="1200" spc="-9">
                <a:solidFill>
                  <a:schemeClr val="dk1"/>
                </a:solidFill>
                <a:latin typeface="Calibri" panose="020F0502020204030204" pitchFamily="34" charset="0"/>
              </a:rPr>
              <a:t>Today</a:t>
            </a:r>
          </a:p>
        </p:txBody>
      </p:sp>
      <p:sp>
        <p:nvSpPr>
          <p:cNvPr id="8" name="OTLSHAPE_TB_00000000000000000000000000000000_TimescaleInterval1">
            <a:extLst>
              <a:ext uri="{FF2B5EF4-FFF2-40B4-BE49-F238E27FC236}">
                <a16:creationId xmlns:a16="http://schemas.microsoft.com/office/drawing/2014/main" id="{15D8F93E-8AFF-493D-BE46-C2AB875BD3E7}"/>
              </a:ext>
            </a:extLst>
          </p:cNvPr>
          <p:cNvSpPr txBox="1"/>
          <p:nvPr>
            <p:custDataLst>
              <p:tags r:id="rId61"/>
            </p:custDataLst>
          </p:nvPr>
        </p:nvSpPr>
        <p:spPr>
          <a:xfrm>
            <a:off x="1460331" y="1154748"/>
            <a:ext cx="241300" cy="186055"/>
          </a:xfrm>
          <a:prstGeom prst="rect">
            <a:avLst/>
          </a:prstGeom>
          <a:noFill/>
        </p:spPr>
        <p:txBody>
          <a:bodyPr vert="horz" wrap="none" lIns="0" tIns="0" rIns="0" bIns="0" rtlCol="0" anchor="ctr" anchorCtr="0">
            <a:noAutofit/>
          </a:bodyPr>
          <a:lstStyle/>
          <a:p>
            <a:r>
              <a:rPr lang="en-US" sz="1200" spc="-20" dirty="0">
                <a:solidFill>
                  <a:schemeClr val="lt1"/>
                </a:solidFill>
                <a:latin typeface="Calibri" panose="020F0502020204030204" pitchFamily="34" charset="0"/>
              </a:rPr>
              <a:t>Aug</a:t>
            </a:r>
          </a:p>
        </p:txBody>
      </p:sp>
      <p:sp>
        <p:nvSpPr>
          <p:cNvPr id="9" name="OTLSHAPE_TB_00000000000000000000000000000000_TimescaleInterval2">
            <a:extLst>
              <a:ext uri="{FF2B5EF4-FFF2-40B4-BE49-F238E27FC236}">
                <a16:creationId xmlns:a16="http://schemas.microsoft.com/office/drawing/2014/main" id="{12BDD7D7-D92C-4A96-B2B7-7755776F2D17}"/>
              </a:ext>
            </a:extLst>
          </p:cNvPr>
          <p:cNvSpPr txBox="1"/>
          <p:nvPr>
            <p:custDataLst>
              <p:tags r:id="rId62"/>
            </p:custDataLst>
          </p:nvPr>
        </p:nvSpPr>
        <p:spPr>
          <a:xfrm>
            <a:off x="2329581" y="1154748"/>
            <a:ext cx="228600" cy="186055"/>
          </a:xfrm>
          <a:prstGeom prst="rect">
            <a:avLst/>
          </a:prstGeom>
          <a:noFill/>
        </p:spPr>
        <p:txBody>
          <a:bodyPr vert="horz" wrap="none" lIns="0" tIns="0" rIns="0" bIns="0" rtlCol="0" anchor="ctr" anchorCtr="0">
            <a:noAutofit/>
          </a:bodyPr>
          <a:lstStyle/>
          <a:p>
            <a:r>
              <a:rPr lang="en-US" sz="1200" spc="-18">
                <a:solidFill>
                  <a:schemeClr val="lt1"/>
                </a:solidFill>
                <a:latin typeface="Calibri" panose="020F0502020204030204" pitchFamily="34" charset="0"/>
              </a:rPr>
              <a:t>Sep</a:t>
            </a:r>
          </a:p>
        </p:txBody>
      </p:sp>
      <p:sp>
        <p:nvSpPr>
          <p:cNvPr id="10" name="OTLSHAPE_TB_00000000000000000000000000000000_TimescaleInterval3">
            <a:extLst>
              <a:ext uri="{FF2B5EF4-FFF2-40B4-BE49-F238E27FC236}">
                <a16:creationId xmlns:a16="http://schemas.microsoft.com/office/drawing/2014/main" id="{B644B876-7FC2-491F-80D3-36F597C75CFE}"/>
              </a:ext>
            </a:extLst>
          </p:cNvPr>
          <p:cNvSpPr txBox="1"/>
          <p:nvPr>
            <p:custDataLst>
              <p:tags r:id="rId63"/>
            </p:custDataLst>
          </p:nvPr>
        </p:nvSpPr>
        <p:spPr>
          <a:xfrm>
            <a:off x="3170792" y="1154748"/>
            <a:ext cx="211148" cy="186055"/>
          </a:xfrm>
          <a:prstGeom prst="rect">
            <a:avLst/>
          </a:prstGeom>
          <a:noFill/>
        </p:spPr>
        <p:txBody>
          <a:bodyPr vert="horz" wrap="none" lIns="0" tIns="0" rIns="0" bIns="0" rtlCol="0" anchor="ctr" anchorCtr="0">
            <a:noAutofit/>
          </a:bodyPr>
          <a:lstStyle/>
          <a:p>
            <a:r>
              <a:rPr lang="en-US" sz="1200" spc="-22">
                <a:solidFill>
                  <a:schemeClr val="lt1"/>
                </a:solidFill>
                <a:latin typeface="Calibri" panose="020F0502020204030204" pitchFamily="34" charset="0"/>
              </a:rPr>
              <a:t>Oct</a:t>
            </a:r>
          </a:p>
        </p:txBody>
      </p:sp>
      <p:sp>
        <p:nvSpPr>
          <p:cNvPr id="11" name="OTLSHAPE_TB_00000000000000000000000000000000_TimescaleInterval4">
            <a:extLst>
              <a:ext uri="{FF2B5EF4-FFF2-40B4-BE49-F238E27FC236}">
                <a16:creationId xmlns:a16="http://schemas.microsoft.com/office/drawing/2014/main" id="{9464326E-4F11-4077-A2E7-A20ED71E6D21}"/>
              </a:ext>
            </a:extLst>
          </p:cNvPr>
          <p:cNvSpPr txBox="1"/>
          <p:nvPr>
            <p:custDataLst>
              <p:tags r:id="rId64"/>
            </p:custDataLst>
          </p:nvPr>
        </p:nvSpPr>
        <p:spPr>
          <a:xfrm>
            <a:off x="4040043" y="1154748"/>
            <a:ext cx="243978" cy="186055"/>
          </a:xfrm>
          <a:prstGeom prst="rect">
            <a:avLst/>
          </a:prstGeom>
          <a:noFill/>
        </p:spPr>
        <p:txBody>
          <a:bodyPr vert="horz" wrap="none" lIns="0" tIns="0" rIns="0" bIns="0" rtlCol="0" anchor="ctr" anchorCtr="0">
            <a:noAutofit/>
          </a:bodyPr>
          <a:lstStyle/>
          <a:p>
            <a:r>
              <a:rPr lang="en-US" sz="1200" spc="-20">
                <a:solidFill>
                  <a:schemeClr val="lt1"/>
                </a:solidFill>
                <a:latin typeface="Calibri" panose="020F0502020204030204" pitchFamily="34" charset="0"/>
              </a:rPr>
              <a:t>Nov</a:t>
            </a:r>
          </a:p>
        </p:txBody>
      </p:sp>
      <p:sp>
        <p:nvSpPr>
          <p:cNvPr id="12" name="OTLSHAPE_TB_00000000000000000000000000000000_TimescaleInterval5">
            <a:extLst>
              <a:ext uri="{FF2B5EF4-FFF2-40B4-BE49-F238E27FC236}">
                <a16:creationId xmlns:a16="http://schemas.microsoft.com/office/drawing/2014/main" id="{E3477D91-FB36-469D-88BA-056B50259493}"/>
              </a:ext>
            </a:extLst>
          </p:cNvPr>
          <p:cNvSpPr txBox="1"/>
          <p:nvPr>
            <p:custDataLst>
              <p:tags r:id="rId65"/>
            </p:custDataLst>
          </p:nvPr>
        </p:nvSpPr>
        <p:spPr>
          <a:xfrm>
            <a:off x="4881253" y="1154748"/>
            <a:ext cx="231858" cy="186055"/>
          </a:xfrm>
          <a:prstGeom prst="rect">
            <a:avLst/>
          </a:prstGeom>
          <a:noFill/>
        </p:spPr>
        <p:txBody>
          <a:bodyPr vert="horz" wrap="none" lIns="0" tIns="0" rIns="0" bIns="0" rtlCol="0" anchor="ctr" anchorCtr="0">
            <a:noAutofit/>
          </a:bodyPr>
          <a:lstStyle/>
          <a:p>
            <a:r>
              <a:rPr lang="en-US" sz="1200" spc="-22">
                <a:solidFill>
                  <a:schemeClr val="lt1"/>
                </a:solidFill>
                <a:latin typeface="Calibri" panose="020F0502020204030204" pitchFamily="34" charset="0"/>
              </a:rPr>
              <a:t>Dec</a:t>
            </a:r>
          </a:p>
        </p:txBody>
      </p:sp>
      <p:sp>
        <p:nvSpPr>
          <p:cNvPr id="13" name="OTLSHAPE_TB_00000000000000000000000000000000_TimescaleInterval6">
            <a:extLst>
              <a:ext uri="{FF2B5EF4-FFF2-40B4-BE49-F238E27FC236}">
                <a16:creationId xmlns:a16="http://schemas.microsoft.com/office/drawing/2014/main" id="{D1E7CD9B-AF05-496E-BD6F-D83DC256DFDE}"/>
              </a:ext>
            </a:extLst>
          </p:cNvPr>
          <p:cNvSpPr txBox="1"/>
          <p:nvPr>
            <p:custDataLst>
              <p:tags r:id="rId66"/>
            </p:custDataLst>
          </p:nvPr>
        </p:nvSpPr>
        <p:spPr>
          <a:xfrm>
            <a:off x="5750504" y="1154748"/>
            <a:ext cx="304955" cy="186055"/>
          </a:xfrm>
          <a:prstGeom prst="rect">
            <a:avLst/>
          </a:prstGeom>
          <a:noFill/>
        </p:spPr>
        <p:txBody>
          <a:bodyPr vert="horz" wrap="none" lIns="0" tIns="0" rIns="0" bIns="0" rtlCol="0" anchor="ctr" anchorCtr="0">
            <a:noAutofit/>
          </a:bodyPr>
          <a:lstStyle/>
          <a:p>
            <a:r>
              <a:rPr lang="en-US" sz="1200" spc="-20">
                <a:solidFill>
                  <a:schemeClr val="lt1"/>
                </a:solidFill>
                <a:latin typeface="Calibri" panose="020F0502020204030204" pitchFamily="34" charset="0"/>
              </a:rPr>
              <a:t>2021</a:t>
            </a:r>
          </a:p>
        </p:txBody>
      </p:sp>
      <p:sp>
        <p:nvSpPr>
          <p:cNvPr id="14" name="OTLSHAPE_TB_00000000000000000000000000000000_TimescaleInterval7">
            <a:extLst>
              <a:ext uri="{FF2B5EF4-FFF2-40B4-BE49-F238E27FC236}">
                <a16:creationId xmlns:a16="http://schemas.microsoft.com/office/drawing/2014/main" id="{9A7CBA5F-8B4E-4D75-A431-9EEE8D7FA51B}"/>
              </a:ext>
            </a:extLst>
          </p:cNvPr>
          <p:cNvSpPr txBox="1"/>
          <p:nvPr>
            <p:custDataLst>
              <p:tags r:id="rId67"/>
            </p:custDataLst>
          </p:nvPr>
        </p:nvSpPr>
        <p:spPr>
          <a:xfrm>
            <a:off x="6619755" y="1154748"/>
            <a:ext cx="219227" cy="186055"/>
          </a:xfrm>
          <a:prstGeom prst="rect">
            <a:avLst/>
          </a:prstGeom>
          <a:noFill/>
        </p:spPr>
        <p:txBody>
          <a:bodyPr vert="horz" wrap="none" lIns="0" tIns="0" rIns="0" bIns="0" rtlCol="0" anchor="ctr" anchorCtr="0">
            <a:noAutofit/>
          </a:bodyPr>
          <a:lstStyle/>
          <a:p>
            <a:r>
              <a:rPr lang="en-US" sz="1200" spc="-18">
                <a:solidFill>
                  <a:schemeClr val="lt1"/>
                </a:solidFill>
                <a:latin typeface="Calibri" panose="020F0502020204030204" pitchFamily="34" charset="0"/>
              </a:rPr>
              <a:t>Feb</a:t>
            </a:r>
          </a:p>
        </p:txBody>
      </p:sp>
      <p:sp>
        <p:nvSpPr>
          <p:cNvPr id="70" name="OTLSHAPE_SLT_cbc6053273674742982e85d542978064_Duration" hidden="1">
            <a:extLst>
              <a:ext uri="{FF2B5EF4-FFF2-40B4-BE49-F238E27FC236}">
                <a16:creationId xmlns:a16="http://schemas.microsoft.com/office/drawing/2014/main" id="{1F874B54-E107-4287-B5DF-96170B8F020B}"/>
              </a:ext>
            </a:extLst>
          </p:cNvPr>
          <p:cNvSpPr txBox="1"/>
          <p:nvPr>
            <p:custDataLst>
              <p:tags r:id="rId68"/>
            </p:custDataLst>
          </p:nvPr>
        </p:nvSpPr>
        <p:spPr>
          <a:xfrm>
            <a:off x="9525" y="-324825"/>
            <a:ext cx="279400" cy="165100"/>
          </a:xfrm>
          <a:prstGeom prst="rect">
            <a:avLst/>
          </a:prstGeom>
          <a:noFill/>
        </p:spPr>
        <p:txBody>
          <a:bodyPr vert="horz" wrap="square" lIns="0" tIns="0" rIns="0" bIns="0" rtlCol="0" anchor="ctr" anchorCtr="0">
            <a:spAutoFit/>
          </a:bodyPr>
          <a:lstStyle/>
          <a:p>
            <a:r>
              <a:rPr lang="en-US" sz="1000">
                <a:solidFill>
                  <a:srgbClr val="ED7D31"/>
                </a:solidFill>
                <a:latin typeface="Calibri" panose="020F0502020204030204" pitchFamily="34" charset="0"/>
              </a:rPr>
              <a:t>1 day</a:t>
            </a:r>
          </a:p>
        </p:txBody>
      </p:sp>
      <p:sp>
        <p:nvSpPr>
          <p:cNvPr id="71" name="OTLSHAPE_SLT_cbc6053273674742982e85d542978064_TextPercentage" hidden="1">
            <a:extLst>
              <a:ext uri="{FF2B5EF4-FFF2-40B4-BE49-F238E27FC236}">
                <a16:creationId xmlns:a16="http://schemas.microsoft.com/office/drawing/2014/main" id="{A61667B3-9CE7-4642-96D2-97BEFBB7D913}"/>
              </a:ext>
            </a:extLst>
          </p:cNvPr>
          <p:cNvSpPr txBox="1"/>
          <p:nvPr>
            <p:custDataLst>
              <p:tags r:id="rId69"/>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rgbClr val="ED7D31"/>
              </a:solidFill>
              <a:latin typeface="Calibri" panose="020F0502020204030204" pitchFamily="34" charset="0"/>
            </a:endParaRPr>
          </a:p>
        </p:txBody>
      </p:sp>
      <p:sp>
        <p:nvSpPr>
          <p:cNvPr id="72" name="OTLSHAPE_SLT_cbc6053273674742982e85d542978064_JoinedDate" hidden="1">
            <a:extLst>
              <a:ext uri="{FF2B5EF4-FFF2-40B4-BE49-F238E27FC236}">
                <a16:creationId xmlns:a16="http://schemas.microsoft.com/office/drawing/2014/main" id="{1ECA1F52-7176-4041-8EA6-01D00F907A44}"/>
              </a:ext>
            </a:extLst>
          </p:cNvPr>
          <p:cNvSpPr txBox="1"/>
          <p:nvPr>
            <p:custDataLst>
              <p:tags r:id="rId70"/>
            </p:custDataLst>
          </p:nvPr>
        </p:nvSpPr>
        <p:spPr>
          <a:xfrm>
            <a:off x="9524" y="-609161"/>
            <a:ext cx="800100" cy="165100"/>
          </a:xfrm>
          <a:prstGeom prst="rect">
            <a:avLst/>
          </a:prstGeom>
          <a:noFill/>
        </p:spPr>
        <p:txBody>
          <a:bodyPr vert="horz" wrap="square" lIns="0" tIns="0" rIns="0" bIns="0" rtlCol="0" anchor="ctr" anchorCtr="0">
            <a:spAutoFit/>
          </a:bodyPr>
          <a:lstStyle/>
          <a:p>
            <a:r>
              <a:rPr lang="en-US" sz="1000">
                <a:solidFill>
                  <a:schemeClr val="dk2"/>
                </a:solidFill>
                <a:latin typeface="Calibri" panose="020F0502020204030204" pitchFamily="34" charset="0"/>
              </a:rPr>
              <a:t>Sep 21 - Sep 22</a:t>
            </a:r>
          </a:p>
        </p:txBody>
      </p:sp>
      <p:sp>
        <p:nvSpPr>
          <p:cNvPr id="73" name="OTLSHAPE_SLT_cbc6053273674742982e85d542978064_StartDate" hidden="1">
            <a:extLst>
              <a:ext uri="{FF2B5EF4-FFF2-40B4-BE49-F238E27FC236}">
                <a16:creationId xmlns:a16="http://schemas.microsoft.com/office/drawing/2014/main" id="{4701DCCC-5119-4182-A2E0-E5EEB4EE41A1}"/>
              </a:ext>
            </a:extLst>
          </p:cNvPr>
          <p:cNvSpPr txBox="1"/>
          <p:nvPr>
            <p:custDataLst>
              <p:tags r:id="rId71"/>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chemeClr val="dk2"/>
              </a:solidFill>
              <a:latin typeface="Calibri" panose="020F0502020204030204" pitchFamily="34" charset="0"/>
            </a:endParaRPr>
          </a:p>
        </p:txBody>
      </p:sp>
      <p:sp>
        <p:nvSpPr>
          <p:cNvPr id="74" name="OTLSHAPE_SLT_cbc6053273674742982e85d542978064_EndDate" hidden="1">
            <a:extLst>
              <a:ext uri="{FF2B5EF4-FFF2-40B4-BE49-F238E27FC236}">
                <a16:creationId xmlns:a16="http://schemas.microsoft.com/office/drawing/2014/main" id="{14BD9CD3-9B91-4F27-88E7-C8857D6EE75B}"/>
              </a:ext>
            </a:extLst>
          </p:cNvPr>
          <p:cNvSpPr txBox="1"/>
          <p:nvPr>
            <p:custDataLst>
              <p:tags r:id="rId72"/>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chemeClr val="dk2"/>
              </a:solidFill>
              <a:latin typeface="Calibri" panose="020F0502020204030204" pitchFamily="34" charset="0"/>
            </a:endParaRPr>
          </a:p>
        </p:txBody>
      </p:sp>
      <p:sp>
        <p:nvSpPr>
          <p:cNvPr id="75" name="OTLSHAPE_SLT_cbc6053273674742982e85d542978064_Title">
            <a:extLst>
              <a:ext uri="{FF2B5EF4-FFF2-40B4-BE49-F238E27FC236}">
                <a16:creationId xmlns:a16="http://schemas.microsoft.com/office/drawing/2014/main" id="{CFE3FFC2-7E8A-443E-B838-3CEC1D557B30}"/>
              </a:ext>
            </a:extLst>
          </p:cNvPr>
          <p:cNvSpPr txBox="1"/>
          <p:nvPr>
            <p:custDataLst>
              <p:tags r:id="rId73"/>
            </p:custDataLst>
          </p:nvPr>
        </p:nvSpPr>
        <p:spPr>
          <a:xfrm flipH="1">
            <a:off x="2017641" y="1681057"/>
            <a:ext cx="787400" cy="124037"/>
          </a:xfrm>
          <a:prstGeom prst="rect">
            <a:avLst/>
          </a:prstGeom>
          <a:noFill/>
        </p:spPr>
        <p:txBody>
          <a:bodyPr vert="horz" wrap="square" lIns="0" tIns="0" rIns="0" bIns="0" rtlCol="0" anchor="ctr" anchorCtr="0">
            <a:spAutoFit/>
          </a:bodyPr>
          <a:lstStyle/>
          <a:p>
            <a:pPr algn="r"/>
            <a:r>
              <a:rPr lang="en-US" sz="800" b="1" spc="-4" dirty="0">
                <a:solidFill>
                  <a:schemeClr val="dk1"/>
                </a:solidFill>
                <a:latin typeface="Calibri" panose="020F0502020204030204" pitchFamily="34" charset="0"/>
              </a:rPr>
              <a:t>Kick-Off Workshop</a:t>
            </a:r>
          </a:p>
        </p:txBody>
      </p:sp>
      <p:sp>
        <p:nvSpPr>
          <p:cNvPr id="86" name="OTLSHAPE_SLT_2ff5b8e034b64a828622147da9a2f6b2_Duration" hidden="1">
            <a:extLst>
              <a:ext uri="{FF2B5EF4-FFF2-40B4-BE49-F238E27FC236}">
                <a16:creationId xmlns:a16="http://schemas.microsoft.com/office/drawing/2014/main" id="{9DB45282-A230-4217-B98E-57F289867C2C}"/>
              </a:ext>
            </a:extLst>
          </p:cNvPr>
          <p:cNvSpPr txBox="1"/>
          <p:nvPr>
            <p:custDataLst>
              <p:tags r:id="rId74"/>
            </p:custDataLst>
          </p:nvPr>
        </p:nvSpPr>
        <p:spPr>
          <a:xfrm>
            <a:off x="3841610" y="2022701"/>
            <a:ext cx="330200" cy="165100"/>
          </a:xfrm>
          <a:prstGeom prst="rect">
            <a:avLst/>
          </a:prstGeom>
          <a:noFill/>
        </p:spPr>
        <p:txBody>
          <a:bodyPr vert="horz" wrap="square" lIns="0" tIns="0" rIns="0" bIns="0" rtlCol="0" anchor="ctr" anchorCtr="0">
            <a:spAutoFit/>
          </a:bodyPr>
          <a:lstStyle/>
          <a:p>
            <a:r>
              <a:rPr lang="en-US" sz="1000" spc="-6">
                <a:solidFill>
                  <a:srgbClr val="ED7D31"/>
                </a:solidFill>
                <a:latin typeface="Calibri" panose="020F0502020204030204" pitchFamily="34" charset="0"/>
              </a:rPr>
              <a:t>9 days</a:t>
            </a:r>
            <a:endParaRPr lang="en-US" sz="1000" spc="-6" dirty="0">
              <a:solidFill>
                <a:srgbClr val="ED7D31"/>
              </a:solidFill>
              <a:latin typeface="Calibri" panose="020F0502020204030204" pitchFamily="34" charset="0"/>
            </a:endParaRPr>
          </a:p>
        </p:txBody>
      </p:sp>
      <p:sp>
        <p:nvSpPr>
          <p:cNvPr id="87" name="OTLSHAPE_SLT_2ff5b8e034b64a828622147da9a2f6b2_TextPercentage" hidden="1">
            <a:extLst>
              <a:ext uri="{FF2B5EF4-FFF2-40B4-BE49-F238E27FC236}">
                <a16:creationId xmlns:a16="http://schemas.microsoft.com/office/drawing/2014/main" id="{F4FCC025-C800-4DA0-AE56-49999E7A6803}"/>
              </a:ext>
            </a:extLst>
          </p:cNvPr>
          <p:cNvSpPr txBox="1"/>
          <p:nvPr>
            <p:custDataLst>
              <p:tags r:id="rId75"/>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rgbClr val="ED7D31"/>
              </a:solidFill>
              <a:latin typeface="Calibri" panose="020F0502020204030204" pitchFamily="34" charset="0"/>
            </a:endParaRPr>
          </a:p>
        </p:txBody>
      </p:sp>
      <p:sp>
        <p:nvSpPr>
          <p:cNvPr id="88" name="OTLSHAPE_SLT_2ff5b8e034b64a828622147da9a2f6b2_JoinedDate" hidden="1">
            <a:extLst>
              <a:ext uri="{FF2B5EF4-FFF2-40B4-BE49-F238E27FC236}">
                <a16:creationId xmlns:a16="http://schemas.microsoft.com/office/drawing/2014/main" id="{C942700E-5ED9-45D6-8B63-97FD481A2FFF}"/>
              </a:ext>
            </a:extLst>
          </p:cNvPr>
          <p:cNvSpPr txBox="1"/>
          <p:nvPr>
            <p:custDataLst>
              <p:tags r:id="rId76"/>
            </p:custDataLst>
          </p:nvPr>
        </p:nvSpPr>
        <p:spPr>
          <a:xfrm>
            <a:off x="9524" y="-555657"/>
            <a:ext cx="723900" cy="165100"/>
          </a:xfrm>
          <a:prstGeom prst="rect">
            <a:avLst/>
          </a:prstGeom>
          <a:noFill/>
        </p:spPr>
        <p:txBody>
          <a:bodyPr vert="horz" wrap="square" lIns="0" tIns="0" rIns="0" bIns="0" rtlCol="0" anchor="ctr" anchorCtr="0">
            <a:spAutoFit/>
          </a:bodyPr>
          <a:lstStyle/>
          <a:p>
            <a:r>
              <a:rPr lang="en-US" sz="1000">
                <a:solidFill>
                  <a:schemeClr val="dk2"/>
                </a:solidFill>
                <a:latin typeface="Calibri" panose="020F0502020204030204" pitchFamily="34" charset="0"/>
              </a:rPr>
              <a:t>Sep 21 - Oct 2</a:t>
            </a:r>
          </a:p>
        </p:txBody>
      </p:sp>
      <p:sp>
        <p:nvSpPr>
          <p:cNvPr id="89" name="OTLSHAPE_SLT_2ff5b8e034b64a828622147da9a2f6b2_StartDate" hidden="1">
            <a:extLst>
              <a:ext uri="{FF2B5EF4-FFF2-40B4-BE49-F238E27FC236}">
                <a16:creationId xmlns:a16="http://schemas.microsoft.com/office/drawing/2014/main" id="{5E22E1B8-4208-41E4-A889-8DA05903D822}"/>
              </a:ext>
            </a:extLst>
          </p:cNvPr>
          <p:cNvSpPr txBox="1"/>
          <p:nvPr>
            <p:custDataLst>
              <p:tags r:id="rId77"/>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chemeClr val="dk2"/>
              </a:solidFill>
              <a:latin typeface="Calibri" panose="020F0502020204030204" pitchFamily="34" charset="0"/>
            </a:endParaRPr>
          </a:p>
        </p:txBody>
      </p:sp>
      <p:sp>
        <p:nvSpPr>
          <p:cNvPr id="90" name="OTLSHAPE_SLT_2ff5b8e034b64a828622147da9a2f6b2_EndDate" hidden="1">
            <a:extLst>
              <a:ext uri="{FF2B5EF4-FFF2-40B4-BE49-F238E27FC236}">
                <a16:creationId xmlns:a16="http://schemas.microsoft.com/office/drawing/2014/main" id="{DFB38113-15C3-47C1-951E-0854D8D85B12}"/>
              </a:ext>
            </a:extLst>
          </p:cNvPr>
          <p:cNvSpPr txBox="1"/>
          <p:nvPr>
            <p:custDataLst>
              <p:tags r:id="rId78"/>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chemeClr val="dk2"/>
              </a:solidFill>
              <a:latin typeface="Calibri" panose="020F0502020204030204" pitchFamily="34" charset="0"/>
            </a:endParaRPr>
          </a:p>
        </p:txBody>
      </p:sp>
      <p:sp>
        <p:nvSpPr>
          <p:cNvPr id="91" name="OTLSHAPE_SLT_2ff5b8e034b64a828622147da9a2f6b2_Title">
            <a:extLst>
              <a:ext uri="{FF2B5EF4-FFF2-40B4-BE49-F238E27FC236}">
                <a16:creationId xmlns:a16="http://schemas.microsoft.com/office/drawing/2014/main" id="{4988BBF8-FA3D-4687-8509-8BE5D3841601}"/>
              </a:ext>
            </a:extLst>
          </p:cNvPr>
          <p:cNvSpPr txBox="1"/>
          <p:nvPr>
            <p:custDataLst>
              <p:tags r:id="rId79"/>
            </p:custDataLst>
          </p:nvPr>
        </p:nvSpPr>
        <p:spPr>
          <a:xfrm flipH="1">
            <a:off x="1392970" y="1906693"/>
            <a:ext cx="1422400" cy="124037"/>
          </a:xfrm>
          <a:prstGeom prst="rect">
            <a:avLst/>
          </a:prstGeom>
          <a:noFill/>
        </p:spPr>
        <p:txBody>
          <a:bodyPr vert="horz" wrap="square" lIns="0" tIns="0" rIns="0" bIns="0" rtlCol="0" anchor="ctr" anchorCtr="0">
            <a:spAutoFit/>
          </a:bodyPr>
          <a:lstStyle/>
          <a:p>
            <a:pPr algn="r"/>
            <a:r>
              <a:rPr lang="en-US" sz="800" b="1" dirty="0">
                <a:solidFill>
                  <a:schemeClr val="dk1"/>
                </a:solidFill>
                <a:latin typeface="Calibri" panose="020F0502020204030204" pitchFamily="34" charset="0"/>
              </a:rPr>
              <a:t>S1: Planning &amp; Design Workshops</a:t>
            </a:r>
          </a:p>
        </p:txBody>
      </p:sp>
      <p:sp>
        <p:nvSpPr>
          <p:cNvPr id="94" name="OTLSHAPE_SLT_7ca32acd5908471a904296b070111595_Duration" hidden="1">
            <a:extLst>
              <a:ext uri="{FF2B5EF4-FFF2-40B4-BE49-F238E27FC236}">
                <a16:creationId xmlns:a16="http://schemas.microsoft.com/office/drawing/2014/main" id="{C43F50C0-2B44-4AFA-AF08-5DCA08D4A08A}"/>
              </a:ext>
            </a:extLst>
          </p:cNvPr>
          <p:cNvSpPr txBox="1"/>
          <p:nvPr>
            <p:custDataLst>
              <p:tags r:id="rId80"/>
            </p:custDataLst>
          </p:nvPr>
        </p:nvSpPr>
        <p:spPr>
          <a:xfrm>
            <a:off x="9525" y="-324825"/>
            <a:ext cx="330200" cy="165100"/>
          </a:xfrm>
          <a:prstGeom prst="rect">
            <a:avLst/>
          </a:prstGeom>
          <a:noFill/>
        </p:spPr>
        <p:txBody>
          <a:bodyPr vert="horz" wrap="square" lIns="0" tIns="0" rIns="0" bIns="0" rtlCol="0" anchor="ctr" anchorCtr="0">
            <a:spAutoFit/>
          </a:bodyPr>
          <a:lstStyle/>
          <a:p>
            <a:r>
              <a:rPr lang="en-US" sz="1000">
                <a:solidFill>
                  <a:srgbClr val="ED7D31"/>
                </a:solidFill>
                <a:latin typeface="Calibri" panose="020F0502020204030204" pitchFamily="34" charset="0"/>
              </a:rPr>
              <a:t>9 days</a:t>
            </a:r>
          </a:p>
        </p:txBody>
      </p:sp>
      <p:sp>
        <p:nvSpPr>
          <p:cNvPr id="95" name="OTLSHAPE_SLT_7ca32acd5908471a904296b070111595_TextPercentage" hidden="1">
            <a:extLst>
              <a:ext uri="{FF2B5EF4-FFF2-40B4-BE49-F238E27FC236}">
                <a16:creationId xmlns:a16="http://schemas.microsoft.com/office/drawing/2014/main" id="{E9ADB06F-CE18-43A0-B7A4-39B8AE7B2E55}"/>
              </a:ext>
            </a:extLst>
          </p:cNvPr>
          <p:cNvSpPr txBox="1"/>
          <p:nvPr>
            <p:custDataLst>
              <p:tags r:id="rId81"/>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rgbClr val="C0504D"/>
              </a:solidFill>
              <a:latin typeface="Calibri" panose="020F0502020204030204" pitchFamily="34" charset="0"/>
            </a:endParaRPr>
          </a:p>
        </p:txBody>
      </p:sp>
      <p:sp>
        <p:nvSpPr>
          <p:cNvPr id="96" name="OTLSHAPE_SLT_7ca32acd5908471a904296b070111595_JoinedDate" hidden="1">
            <a:extLst>
              <a:ext uri="{FF2B5EF4-FFF2-40B4-BE49-F238E27FC236}">
                <a16:creationId xmlns:a16="http://schemas.microsoft.com/office/drawing/2014/main" id="{5208B617-993A-43B3-A14B-DA01FA39BD23}"/>
              </a:ext>
            </a:extLst>
          </p:cNvPr>
          <p:cNvSpPr txBox="1"/>
          <p:nvPr>
            <p:custDataLst>
              <p:tags r:id="rId82"/>
            </p:custDataLst>
          </p:nvPr>
        </p:nvSpPr>
        <p:spPr>
          <a:xfrm>
            <a:off x="9524" y="-551453"/>
            <a:ext cx="647700" cy="165100"/>
          </a:xfrm>
          <a:prstGeom prst="rect">
            <a:avLst/>
          </a:prstGeom>
          <a:noFill/>
        </p:spPr>
        <p:txBody>
          <a:bodyPr vert="horz" wrap="square" lIns="0" tIns="0" rIns="0" bIns="0" rtlCol="0" anchor="ctr" anchorCtr="0">
            <a:spAutoFit/>
          </a:bodyPr>
          <a:lstStyle/>
          <a:p>
            <a:r>
              <a:rPr lang="en-US" sz="1000">
                <a:solidFill>
                  <a:schemeClr val="dk2"/>
                </a:solidFill>
                <a:latin typeface="Calibri" panose="020F0502020204030204" pitchFamily="34" charset="0"/>
              </a:rPr>
              <a:t>10/5 - 10/16</a:t>
            </a:r>
          </a:p>
        </p:txBody>
      </p:sp>
      <p:sp>
        <p:nvSpPr>
          <p:cNvPr id="97" name="OTLSHAPE_SLT_7ca32acd5908471a904296b070111595_StartDate" hidden="1">
            <a:extLst>
              <a:ext uri="{FF2B5EF4-FFF2-40B4-BE49-F238E27FC236}">
                <a16:creationId xmlns:a16="http://schemas.microsoft.com/office/drawing/2014/main" id="{62864A64-65F7-4A3C-9962-5EC1053B1A26}"/>
              </a:ext>
            </a:extLst>
          </p:cNvPr>
          <p:cNvSpPr txBox="1"/>
          <p:nvPr>
            <p:custDataLst>
              <p:tags r:id="rId83"/>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chemeClr val="dk2"/>
              </a:solidFill>
              <a:latin typeface="Calibri" panose="020F0502020204030204" pitchFamily="34" charset="0"/>
            </a:endParaRPr>
          </a:p>
        </p:txBody>
      </p:sp>
      <p:sp>
        <p:nvSpPr>
          <p:cNvPr id="98" name="OTLSHAPE_SLT_7ca32acd5908471a904296b070111595_EndDate" hidden="1">
            <a:extLst>
              <a:ext uri="{FF2B5EF4-FFF2-40B4-BE49-F238E27FC236}">
                <a16:creationId xmlns:a16="http://schemas.microsoft.com/office/drawing/2014/main" id="{286990EF-1DE3-4EF2-84AE-72E0E4D86C06}"/>
              </a:ext>
            </a:extLst>
          </p:cNvPr>
          <p:cNvSpPr txBox="1"/>
          <p:nvPr>
            <p:custDataLst>
              <p:tags r:id="rId84"/>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chemeClr val="dk2"/>
              </a:solidFill>
              <a:latin typeface="Calibri" panose="020F0502020204030204" pitchFamily="34" charset="0"/>
            </a:endParaRPr>
          </a:p>
        </p:txBody>
      </p:sp>
      <p:sp>
        <p:nvSpPr>
          <p:cNvPr id="99" name="OTLSHAPE_SLT_7ca32acd5908471a904296b070111595_Title">
            <a:extLst>
              <a:ext uri="{FF2B5EF4-FFF2-40B4-BE49-F238E27FC236}">
                <a16:creationId xmlns:a16="http://schemas.microsoft.com/office/drawing/2014/main" id="{BAABD033-2D96-4E3E-8D49-ADD57A48DB81}"/>
              </a:ext>
            </a:extLst>
          </p:cNvPr>
          <p:cNvSpPr txBox="1"/>
          <p:nvPr>
            <p:custDataLst>
              <p:tags r:id="rId85"/>
            </p:custDataLst>
          </p:nvPr>
        </p:nvSpPr>
        <p:spPr>
          <a:xfrm flipH="1">
            <a:off x="2060109" y="2218267"/>
            <a:ext cx="1143000" cy="124037"/>
          </a:xfrm>
          <a:prstGeom prst="rect">
            <a:avLst/>
          </a:prstGeom>
          <a:noFill/>
        </p:spPr>
        <p:txBody>
          <a:bodyPr vert="horz" wrap="square" lIns="0" tIns="0" rIns="0" bIns="0" rtlCol="0" anchor="ctr" anchorCtr="0">
            <a:spAutoFit/>
          </a:bodyPr>
          <a:lstStyle/>
          <a:p>
            <a:pPr algn="r"/>
            <a:r>
              <a:rPr lang="en-US" sz="800" b="1">
                <a:solidFill>
                  <a:schemeClr val="dk1"/>
                </a:solidFill>
                <a:latin typeface="Calibri" panose="020F0502020204030204" pitchFamily="34" charset="0"/>
              </a:rPr>
              <a:t>S2: Implementation Design</a:t>
            </a:r>
            <a:endParaRPr lang="en-US" sz="800" b="1" dirty="0">
              <a:solidFill>
                <a:schemeClr val="dk1"/>
              </a:solidFill>
              <a:latin typeface="Calibri" panose="020F0502020204030204" pitchFamily="34" charset="0"/>
            </a:endParaRPr>
          </a:p>
        </p:txBody>
      </p:sp>
      <p:sp>
        <p:nvSpPr>
          <p:cNvPr id="119" name="OTLSHAPE_SLM_0919ae8ef9ce4bc889749ffc4f892b56_Date">
            <a:extLst>
              <a:ext uri="{FF2B5EF4-FFF2-40B4-BE49-F238E27FC236}">
                <a16:creationId xmlns:a16="http://schemas.microsoft.com/office/drawing/2014/main" id="{7EEB237F-BF79-4CCE-95E8-2387D0803524}"/>
              </a:ext>
            </a:extLst>
          </p:cNvPr>
          <p:cNvSpPr txBox="1"/>
          <p:nvPr>
            <p:custDataLst>
              <p:tags r:id="rId86"/>
            </p:custDataLst>
          </p:nvPr>
        </p:nvSpPr>
        <p:spPr>
          <a:xfrm>
            <a:off x="4944733" y="3023658"/>
            <a:ext cx="825500" cy="124037"/>
          </a:xfrm>
          <a:prstGeom prst="rect">
            <a:avLst/>
          </a:prstGeom>
          <a:noFill/>
        </p:spPr>
        <p:txBody>
          <a:bodyPr vert="horz" wrap="square" lIns="0" tIns="0" rIns="0" bIns="0" rtlCol="0" anchor="ctr" anchorCtr="0">
            <a:spAutoFit/>
          </a:bodyPr>
          <a:lstStyle/>
          <a:p>
            <a:r>
              <a:rPr lang="en-US" sz="800">
                <a:solidFill>
                  <a:schemeClr val="dk2"/>
                </a:solidFill>
                <a:latin typeface="Calibri" panose="020F0502020204030204" pitchFamily="34" charset="0"/>
              </a:rPr>
              <a:t>November 30, 2020</a:t>
            </a:r>
          </a:p>
        </p:txBody>
      </p:sp>
      <p:sp>
        <p:nvSpPr>
          <p:cNvPr id="120" name="OTLSHAPE_SLM_0919ae8ef9ce4bc889749ffc4f892b56_Title">
            <a:extLst>
              <a:ext uri="{FF2B5EF4-FFF2-40B4-BE49-F238E27FC236}">
                <a16:creationId xmlns:a16="http://schemas.microsoft.com/office/drawing/2014/main" id="{2DE8A30D-9F5D-486E-972C-C6C5B801A981}"/>
              </a:ext>
            </a:extLst>
          </p:cNvPr>
          <p:cNvSpPr txBox="1"/>
          <p:nvPr>
            <p:custDataLst>
              <p:tags r:id="rId87"/>
            </p:custDataLst>
          </p:nvPr>
        </p:nvSpPr>
        <p:spPr>
          <a:xfrm>
            <a:off x="4944733" y="2899622"/>
            <a:ext cx="901700" cy="124037"/>
          </a:xfrm>
          <a:prstGeom prst="rect">
            <a:avLst/>
          </a:prstGeom>
          <a:noFill/>
        </p:spPr>
        <p:txBody>
          <a:bodyPr vert="horz" wrap="square" lIns="0" tIns="0" rIns="0" bIns="0" rtlCol="0" anchor="ctr" anchorCtr="0">
            <a:spAutoFit/>
          </a:bodyPr>
          <a:lstStyle/>
          <a:p>
            <a:r>
              <a:rPr lang="en-US" sz="800" spc="-2">
                <a:solidFill>
                  <a:schemeClr val="dk1"/>
                </a:solidFill>
                <a:latin typeface="Calibri" panose="020F0502020204030204" pitchFamily="34" charset="0"/>
              </a:rPr>
              <a:t>Non-Prod Acceptance</a:t>
            </a:r>
          </a:p>
        </p:txBody>
      </p:sp>
      <p:sp>
        <p:nvSpPr>
          <p:cNvPr id="153" name="OTLSHAPE_SLT_47cbe89cdf5541999ae0d3ac526194f6_Duration" hidden="1">
            <a:extLst>
              <a:ext uri="{FF2B5EF4-FFF2-40B4-BE49-F238E27FC236}">
                <a16:creationId xmlns:a16="http://schemas.microsoft.com/office/drawing/2014/main" id="{979B78FB-CA24-419F-A6A4-428DE0D96F49}"/>
              </a:ext>
            </a:extLst>
          </p:cNvPr>
          <p:cNvSpPr txBox="1"/>
          <p:nvPr>
            <p:custDataLst>
              <p:tags r:id="rId88"/>
            </p:custDataLst>
          </p:nvPr>
        </p:nvSpPr>
        <p:spPr>
          <a:xfrm>
            <a:off x="9525" y="-324825"/>
            <a:ext cx="330200" cy="165100"/>
          </a:xfrm>
          <a:prstGeom prst="rect">
            <a:avLst/>
          </a:prstGeom>
          <a:noFill/>
        </p:spPr>
        <p:txBody>
          <a:bodyPr vert="horz" wrap="square" lIns="0" tIns="0" rIns="0" bIns="0" rtlCol="0" anchor="ctr" anchorCtr="0">
            <a:spAutoFit/>
          </a:bodyPr>
          <a:lstStyle/>
          <a:p>
            <a:r>
              <a:rPr lang="en-US" sz="1000">
                <a:solidFill>
                  <a:srgbClr val="ED7D31"/>
                </a:solidFill>
                <a:latin typeface="Calibri" panose="020F0502020204030204" pitchFamily="34" charset="0"/>
              </a:rPr>
              <a:t>9 days</a:t>
            </a:r>
          </a:p>
        </p:txBody>
      </p:sp>
      <p:sp>
        <p:nvSpPr>
          <p:cNvPr id="154" name="OTLSHAPE_SLT_47cbe89cdf5541999ae0d3ac526194f6_TextPercentage" hidden="1">
            <a:extLst>
              <a:ext uri="{FF2B5EF4-FFF2-40B4-BE49-F238E27FC236}">
                <a16:creationId xmlns:a16="http://schemas.microsoft.com/office/drawing/2014/main" id="{F8FC72A8-F270-4568-8D6F-49829C9C097B}"/>
              </a:ext>
            </a:extLst>
          </p:cNvPr>
          <p:cNvSpPr txBox="1"/>
          <p:nvPr>
            <p:custDataLst>
              <p:tags r:id="rId89"/>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rgbClr val="ED7D31"/>
              </a:solidFill>
              <a:latin typeface="Calibri" panose="020F0502020204030204" pitchFamily="34" charset="0"/>
            </a:endParaRPr>
          </a:p>
        </p:txBody>
      </p:sp>
      <p:sp>
        <p:nvSpPr>
          <p:cNvPr id="155" name="OTLSHAPE_SLT_47cbe89cdf5541999ae0d3ac526194f6_JoinedDate" hidden="1">
            <a:extLst>
              <a:ext uri="{FF2B5EF4-FFF2-40B4-BE49-F238E27FC236}">
                <a16:creationId xmlns:a16="http://schemas.microsoft.com/office/drawing/2014/main" id="{CAF5CCBB-EDFA-4F0A-9315-647B49184B47}"/>
              </a:ext>
            </a:extLst>
          </p:cNvPr>
          <p:cNvSpPr txBox="1"/>
          <p:nvPr>
            <p:custDataLst>
              <p:tags r:id="rId90"/>
            </p:custDataLst>
          </p:nvPr>
        </p:nvSpPr>
        <p:spPr>
          <a:xfrm>
            <a:off x="9525" y="-555657"/>
            <a:ext cx="762000" cy="165100"/>
          </a:xfrm>
          <a:prstGeom prst="rect">
            <a:avLst/>
          </a:prstGeom>
          <a:noFill/>
        </p:spPr>
        <p:txBody>
          <a:bodyPr vert="horz" wrap="square" lIns="0" tIns="0" rIns="0" bIns="0" rtlCol="0" anchor="ctr" anchorCtr="0">
            <a:spAutoFit/>
          </a:bodyPr>
          <a:lstStyle/>
          <a:p>
            <a:r>
              <a:rPr lang="en-US" sz="1000">
                <a:solidFill>
                  <a:schemeClr val="dk2"/>
                </a:solidFill>
                <a:latin typeface="Calibri" panose="020F0502020204030204" pitchFamily="34" charset="0"/>
              </a:rPr>
              <a:t>Nov 2 - Nov 13</a:t>
            </a:r>
          </a:p>
        </p:txBody>
      </p:sp>
      <p:sp>
        <p:nvSpPr>
          <p:cNvPr id="156" name="OTLSHAPE_SLT_47cbe89cdf5541999ae0d3ac526194f6_StartDate" hidden="1">
            <a:extLst>
              <a:ext uri="{FF2B5EF4-FFF2-40B4-BE49-F238E27FC236}">
                <a16:creationId xmlns:a16="http://schemas.microsoft.com/office/drawing/2014/main" id="{B566B750-C4DD-48EF-AA5A-98D65ADEE34E}"/>
              </a:ext>
            </a:extLst>
          </p:cNvPr>
          <p:cNvSpPr txBox="1"/>
          <p:nvPr>
            <p:custDataLst>
              <p:tags r:id="rId91"/>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chemeClr val="dk2"/>
              </a:solidFill>
              <a:latin typeface="Calibri" panose="020F0502020204030204" pitchFamily="34" charset="0"/>
            </a:endParaRPr>
          </a:p>
        </p:txBody>
      </p:sp>
      <p:sp>
        <p:nvSpPr>
          <p:cNvPr id="157" name="OTLSHAPE_SLT_47cbe89cdf5541999ae0d3ac526194f6_EndDate" hidden="1">
            <a:extLst>
              <a:ext uri="{FF2B5EF4-FFF2-40B4-BE49-F238E27FC236}">
                <a16:creationId xmlns:a16="http://schemas.microsoft.com/office/drawing/2014/main" id="{BDA4888D-D773-4A28-A1F9-702820F6E4B9}"/>
              </a:ext>
            </a:extLst>
          </p:cNvPr>
          <p:cNvSpPr txBox="1"/>
          <p:nvPr>
            <p:custDataLst>
              <p:tags r:id="rId92"/>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chemeClr val="dk2"/>
              </a:solidFill>
              <a:latin typeface="Calibri" panose="020F0502020204030204" pitchFamily="34" charset="0"/>
            </a:endParaRPr>
          </a:p>
        </p:txBody>
      </p:sp>
      <p:sp>
        <p:nvSpPr>
          <p:cNvPr id="158" name="OTLSHAPE_SLT_47cbe89cdf5541999ae0d3ac526194f6_Title">
            <a:extLst>
              <a:ext uri="{FF2B5EF4-FFF2-40B4-BE49-F238E27FC236}">
                <a16:creationId xmlns:a16="http://schemas.microsoft.com/office/drawing/2014/main" id="{4FF62CFF-4B1B-446D-AD51-583E4AC84ED1}"/>
              </a:ext>
            </a:extLst>
          </p:cNvPr>
          <p:cNvSpPr txBox="1"/>
          <p:nvPr>
            <p:custDataLst>
              <p:tags r:id="rId93"/>
            </p:custDataLst>
          </p:nvPr>
        </p:nvSpPr>
        <p:spPr>
          <a:xfrm flipH="1">
            <a:off x="3187207" y="2736003"/>
            <a:ext cx="800100" cy="124037"/>
          </a:xfrm>
          <a:prstGeom prst="rect">
            <a:avLst/>
          </a:prstGeom>
          <a:noFill/>
        </p:spPr>
        <p:txBody>
          <a:bodyPr vert="horz" wrap="square" lIns="0" tIns="0" rIns="0" bIns="0" rtlCol="0" anchor="ctr" anchorCtr="0">
            <a:spAutoFit/>
          </a:bodyPr>
          <a:lstStyle/>
          <a:p>
            <a:pPr algn="r"/>
            <a:r>
              <a:rPr lang="en-US" sz="800" b="1" dirty="0">
                <a:solidFill>
                  <a:schemeClr val="dk1"/>
                </a:solidFill>
                <a:latin typeface="Calibri" panose="020F0502020204030204" pitchFamily="34" charset="0"/>
              </a:rPr>
              <a:t>S4: Non-Prod Build</a:t>
            </a:r>
          </a:p>
        </p:txBody>
      </p:sp>
      <p:sp>
        <p:nvSpPr>
          <p:cNvPr id="169" name="OTLSHAPE_SLT_546dc3323d74464a8ef6a4e6e53f36ea_Duration" hidden="1">
            <a:extLst>
              <a:ext uri="{FF2B5EF4-FFF2-40B4-BE49-F238E27FC236}">
                <a16:creationId xmlns:a16="http://schemas.microsoft.com/office/drawing/2014/main" id="{051AA4D1-527D-4D03-BBAE-38E124ACBD27}"/>
              </a:ext>
            </a:extLst>
          </p:cNvPr>
          <p:cNvSpPr txBox="1"/>
          <p:nvPr>
            <p:custDataLst>
              <p:tags r:id="rId94"/>
            </p:custDataLst>
          </p:nvPr>
        </p:nvSpPr>
        <p:spPr>
          <a:xfrm>
            <a:off x="6883798" y="2922528"/>
            <a:ext cx="342900" cy="165100"/>
          </a:xfrm>
          <a:prstGeom prst="rect">
            <a:avLst/>
          </a:prstGeom>
          <a:noFill/>
        </p:spPr>
        <p:txBody>
          <a:bodyPr vert="horz" wrap="square" lIns="0" tIns="0" rIns="0" bIns="0" rtlCol="0" anchor="ctr" anchorCtr="0">
            <a:spAutoFit/>
          </a:bodyPr>
          <a:lstStyle/>
          <a:p>
            <a:r>
              <a:rPr lang="en-US" sz="1000" b="1" spc="-6">
                <a:solidFill>
                  <a:srgbClr val="737373"/>
                </a:solidFill>
                <a:latin typeface="Calibri" panose="020F0502020204030204" pitchFamily="34" charset="0"/>
              </a:rPr>
              <a:t>9 days</a:t>
            </a:r>
            <a:endParaRPr lang="en-US" sz="1000" b="1" spc="-6" dirty="0">
              <a:solidFill>
                <a:srgbClr val="737373"/>
              </a:solidFill>
              <a:latin typeface="Calibri" panose="020F0502020204030204" pitchFamily="34" charset="0"/>
            </a:endParaRPr>
          </a:p>
        </p:txBody>
      </p:sp>
      <p:sp>
        <p:nvSpPr>
          <p:cNvPr id="170" name="OTLSHAPE_SLT_546dc3323d74464a8ef6a4e6e53f36ea_TextPercentage" hidden="1">
            <a:extLst>
              <a:ext uri="{FF2B5EF4-FFF2-40B4-BE49-F238E27FC236}">
                <a16:creationId xmlns:a16="http://schemas.microsoft.com/office/drawing/2014/main" id="{7B16AF04-CC9A-4187-8483-C9CCA9FA6E33}"/>
              </a:ext>
            </a:extLst>
          </p:cNvPr>
          <p:cNvSpPr txBox="1"/>
          <p:nvPr>
            <p:custDataLst>
              <p:tags r:id="rId95"/>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rgbClr val="ED7D31"/>
              </a:solidFill>
              <a:latin typeface="Calibri" panose="020F0502020204030204" pitchFamily="34" charset="0"/>
            </a:endParaRPr>
          </a:p>
        </p:txBody>
      </p:sp>
      <p:sp>
        <p:nvSpPr>
          <p:cNvPr id="171" name="OTLSHAPE_SLT_546dc3323d74464a8ef6a4e6e53f36ea_JoinedDate" hidden="1">
            <a:extLst>
              <a:ext uri="{FF2B5EF4-FFF2-40B4-BE49-F238E27FC236}">
                <a16:creationId xmlns:a16="http://schemas.microsoft.com/office/drawing/2014/main" id="{C0713499-DE7E-4573-A935-16FF6BC9FBA7}"/>
              </a:ext>
            </a:extLst>
          </p:cNvPr>
          <p:cNvSpPr txBox="1"/>
          <p:nvPr>
            <p:custDataLst>
              <p:tags r:id="rId96"/>
            </p:custDataLst>
          </p:nvPr>
        </p:nvSpPr>
        <p:spPr>
          <a:xfrm>
            <a:off x="7049024" y="3056862"/>
            <a:ext cx="825500" cy="165100"/>
          </a:xfrm>
          <a:prstGeom prst="rect">
            <a:avLst/>
          </a:prstGeom>
          <a:noFill/>
        </p:spPr>
        <p:txBody>
          <a:bodyPr vert="horz" wrap="square" lIns="0" tIns="0" rIns="0" bIns="0" rtlCol="0" anchor="ctr" anchorCtr="0">
            <a:spAutoFit/>
          </a:bodyPr>
          <a:lstStyle/>
          <a:p>
            <a:r>
              <a:rPr lang="en-US" sz="1000" spc="-3">
                <a:solidFill>
                  <a:schemeClr val="dk2"/>
                </a:solidFill>
                <a:latin typeface="Calibri" panose="020F0502020204030204" pitchFamily="34" charset="0"/>
              </a:rPr>
              <a:t>Nov 16 - Nov 27</a:t>
            </a:r>
            <a:endParaRPr lang="en-US" sz="1000" spc="-3" dirty="0">
              <a:solidFill>
                <a:schemeClr val="dk2"/>
              </a:solidFill>
              <a:latin typeface="Calibri" panose="020F0502020204030204" pitchFamily="34" charset="0"/>
            </a:endParaRPr>
          </a:p>
        </p:txBody>
      </p:sp>
      <p:sp>
        <p:nvSpPr>
          <p:cNvPr id="172" name="OTLSHAPE_SLT_546dc3323d74464a8ef6a4e6e53f36ea_StartDate" hidden="1">
            <a:extLst>
              <a:ext uri="{FF2B5EF4-FFF2-40B4-BE49-F238E27FC236}">
                <a16:creationId xmlns:a16="http://schemas.microsoft.com/office/drawing/2014/main" id="{7B850B93-E371-4DD5-AABC-4313644EE108}"/>
              </a:ext>
            </a:extLst>
          </p:cNvPr>
          <p:cNvSpPr txBox="1"/>
          <p:nvPr>
            <p:custDataLst>
              <p:tags r:id="rId97"/>
            </p:custDataLst>
          </p:nvPr>
        </p:nvSpPr>
        <p:spPr>
          <a:xfrm>
            <a:off x="9525" y="-78961"/>
            <a:ext cx="0" cy="0"/>
          </a:xfrm>
          <a:prstGeom prst="rect">
            <a:avLst/>
          </a:prstGeom>
          <a:noFill/>
        </p:spPr>
        <p:txBody>
          <a:bodyPr vert="horz" wrap="square" lIns="0" tIns="0" rIns="0" bIns="0" rtlCol="0" anchor="ctr" anchorCtr="0">
            <a:spAutoFit/>
          </a:bodyPr>
          <a:lstStyle/>
          <a:p>
            <a:endParaRPr lang="en-US" sz="1000">
              <a:solidFill>
                <a:schemeClr val="dk2"/>
              </a:solidFill>
              <a:latin typeface="Calibri" panose="020F0502020204030204" pitchFamily="34" charset="0"/>
            </a:endParaRPr>
          </a:p>
        </p:txBody>
      </p:sp>
      <p:sp>
        <p:nvSpPr>
          <p:cNvPr id="173" name="OTLSHAPE_SLT_546dc3323d74464a8ef6a4e6e53f36ea_EndDate" hidden="1">
            <a:extLst>
              <a:ext uri="{FF2B5EF4-FFF2-40B4-BE49-F238E27FC236}">
                <a16:creationId xmlns:a16="http://schemas.microsoft.com/office/drawing/2014/main" id="{7AF4CF69-B049-47F2-BC9C-0AC72505A882}"/>
              </a:ext>
            </a:extLst>
          </p:cNvPr>
          <p:cNvSpPr txBox="1"/>
          <p:nvPr>
            <p:custDataLst>
              <p:tags r:id="rId98"/>
            </p:custDataLst>
          </p:nvPr>
        </p:nvSpPr>
        <p:spPr>
          <a:xfrm>
            <a:off x="9525" y="-78961"/>
            <a:ext cx="0" cy="0"/>
          </a:xfrm>
          <a:prstGeom prst="rect">
            <a:avLst/>
          </a:prstGeom>
          <a:noFill/>
        </p:spPr>
        <p:txBody>
          <a:bodyPr vert="horz" wrap="square" lIns="0" tIns="0" rIns="0" bIns="0" rtlCol="0" anchor="ctr" anchorCtr="0">
            <a:spAutoFit/>
          </a:bodyPr>
          <a:lstStyle/>
          <a:p>
            <a:endParaRPr lang="en-US" sz="1000">
              <a:solidFill>
                <a:schemeClr val="dk2"/>
              </a:solidFill>
              <a:latin typeface="Calibri" panose="020F0502020204030204" pitchFamily="34" charset="0"/>
            </a:endParaRPr>
          </a:p>
        </p:txBody>
      </p:sp>
      <p:sp>
        <p:nvSpPr>
          <p:cNvPr id="174" name="OTLSHAPE_SLT_546dc3323d74464a8ef6a4e6e53f36ea_Title">
            <a:extLst>
              <a:ext uri="{FF2B5EF4-FFF2-40B4-BE49-F238E27FC236}">
                <a16:creationId xmlns:a16="http://schemas.microsoft.com/office/drawing/2014/main" id="{9B676A29-A2D9-4256-A92A-AC98599F843A}"/>
              </a:ext>
            </a:extLst>
          </p:cNvPr>
          <p:cNvSpPr txBox="1"/>
          <p:nvPr>
            <p:custDataLst>
              <p:tags r:id="rId99"/>
            </p:custDataLst>
          </p:nvPr>
        </p:nvSpPr>
        <p:spPr>
          <a:xfrm>
            <a:off x="3628371" y="2961640"/>
            <a:ext cx="749300" cy="124037"/>
          </a:xfrm>
          <a:prstGeom prst="rect">
            <a:avLst/>
          </a:prstGeom>
          <a:noFill/>
        </p:spPr>
        <p:txBody>
          <a:bodyPr vert="horz" wrap="square" lIns="0" tIns="0" rIns="0" bIns="0" rtlCol="0" anchor="ctr" anchorCtr="0">
            <a:spAutoFit/>
          </a:bodyPr>
          <a:lstStyle/>
          <a:p>
            <a:pPr algn="r"/>
            <a:r>
              <a:rPr lang="en-US" sz="800" b="1" spc="-4">
                <a:solidFill>
                  <a:schemeClr val="dk1"/>
                </a:solidFill>
                <a:latin typeface="Calibri" panose="020F0502020204030204" pitchFamily="34" charset="0"/>
              </a:rPr>
              <a:t>S5: Non-Prod Test</a:t>
            </a:r>
            <a:endParaRPr lang="en-US" sz="800" b="1" spc="-4" dirty="0">
              <a:solidFill>
                <a:schemeClr val="dk1"/>
              </a:solidFill>
              <a:latin typeface="Calibri" panose="020F0502020204030204" pitchFamily="34" charset="0"/>
            </a:endParaRPr>
          </a:p>
        </p:txBody>
      </p:sp>
      <p:sp>
        <p:nvSpPr>
          <p:cNvPr id="50" name="OTLSHAPE_SLM_96c9556a7149459ab1aa5830ee29e508_Title">
            <a:extLst>
              <a:ext uri="{FF2B5EF4-FFF2-40B4-BE49-F238E27FC236}">
                <a16:creationId xmlns:a16="http://schemas.microsoft.com/office/drawing/2014/main" id="{70BB4C2F-415A-4C38-B302-78918756FD2E}"/>
              </a:ext>
            </a:extLst>
          </p:cNvPr>
          <p:cNvSpPr txBox="1"/>
          <p:nvPr>
            <p:custDataLst>
              <p:tags r:id="rId100"/>
            </p:custDataLst>
          </p:nvPr>
        </p:nvSpPr>
        <p:spPr>
          <a:xfrm>
            <a:off x="3738999" y="2156248"/>
            <a:ext cx="711200" cy="124037"/>
          </a:xfrm>
          <a:prstGeom prst="rect">
            <a:avLst/>
          </a:prstGeom>
          <a:noFill/>
        </p:spPr>
        <p:txBody>
          <a:bodyPr vert="horz" wrap="square" lIns="0" tIns="0" rIns="0" bIns="0" rtlCol="0" anchor="ctr" anchorCtr="0">
            <a:spAutoFit/>
          </a:bodyPr>
          <a:lstStyle/>
          <a:p>
            <a:r>
              <a:rPr lang="en-AU" sz="800" spc="-2">
                <a:solidFill>
                  <a:schemeClr val="dk1"/>
                </a:solidFill>
                <a:latin typeface="Calibri" panose="020F0502020204030204" pitchFamily="34" charset="0"/>
              </a:rPr>
              <a:t>Design Approved</a:t>
            </a:r>
          </a:p>
        </p:txBody>
      </p:sp>
      <p:sp>
        <p:nvSpPr>
          <p:cNvPr id="67" name="OTLSHAPE_SLM_96c9556a7149459ab1aa5830ee29e508_Date">
            <a:extLst>
              <a:ext uri="{FF2B5EF4-FFF2-40B4-BE49-F238E27FC236}">
                <a16:creationId xmlns:a16="http://schemas.microsoft.com/office/drawing/2014/main" id="{4CF4629E-C601-4655-A659-905CD91ADF80}"/>
              </a:ext>
            </a:extLst>
          </p:cNvPr>
          <p:cNvSpPr txBox="1"/>
          <p:nvPr>
            <p:custDataLst>
              <p:tags r:id="rId101"/>
            </p:custDataLst>
          </p:nvPr>
        </p:nvSpPr>
        <p:spPr>
          <a:xfrm>
            <a:off x="3738999" y="2280285"/>
            <a:ext cx="723900" cy="124037"/>
          </a:xfrm>
          <a:prstGeom prst="rect">
            <a:avLst/>
          </a:prstGeom>
          <a:noFill/>
        </p:spPr>
        <p:txBody>
          <a:bodyPr vert="horz" wrap="square" lIns="0" tIns="0" rIns="0" bIns="0" rtlCol="0" anchor="ctr" anchorCtr="0">
            <a:spAutoFit/>
          </a:bodyPr>
          <a:lstStyle/>
          <a:p>
            <a:r>
              <a:rPr lang="en-AU" sz="800">
                <a:solidFill>
                  <a:schemeClr val="dk2"/>
                </a:solidFill>
                <a:latin typeface="Calibri" panose="020F0502020204030204" pitchFamily="34" charset="0"/>
              </a:rPr>
              <a:t>October 18, 2020</a:t>
            </a:r>
          </a:p>
        </p:txBody>
      </p:sp>
      <p:sp>
        <p:nvSpPr>
          <p:cNvPr id="117" name="OTLSHAPE_SLT_728670bf01094e668a93f6364e8de169_Duration" hidden="1">
            <a:extLst>
              <a:ext uri="{FF2B5EF4-FFF2-40B4-BE49-F238E27FC236}">
                <a16:creationId xmlns:a16="http://schemas.microsoft.com/office/drawing/2014/main" id="{A836CC41-331D-4821-89B8-E54828594850}"/>
              </a:ext>
            </a:extLst>
          </p:cNvPr>
          <p:cNvSpPr txBox="1"/>
          <p:nvPr>
            <p:custDataLst>
              <p:tags r:id="rId102"/>
            </p:custDataLst>
          </p:nvPr>
        </p:nvSpPr>
        <p:spPr>
          <a:xfrm>
            <a:off x="9525" y="-267116"/>
            <a:ext cx="330200" cy="165100"/>
          </a:xfrm>
          <a:prstGeom prst="rect">
            <a:avLst/>
          </a:prstGeom>
          <a:noFill/>
        </p:spPr>
        <p:txBody>
          <a:bodyPr vert="horz" wrap="square" lIns="0" tIns="0" rIns="0" bIns="0" rtlCol="0" anchor="ctr" anchorCtr="0">
            <a:spAutoFit/>
          </a:bodyPr>
          <a:lstStyle/>
          <a:p>
            <a:r>
              <a:rPr lang="en-AU" sz="1000">
                <a:solidFill>
                  <a:srgbClr val="ED7D31"/>
                </a:solidFill>
                <a:latin typeface="Calibri" panose="020F0502020204030204" pitchFamily="34" charset="0"/>
              </a:rPr>
              <a:t>9 days</a:t>
            </a:r>
          </a:p>
        </p:txBody>
      </p:sp>
      <p:sp>
        <p:nvSpPr>
          <p:cNvPr id="118" name="OTLSHAPE_SLT_728670bf01094e668a93f6364e8de169_TextPercentage" hidden="1">
            <a:extLst>
              <a:ext uri="{FF2B5EF4-FFF2-40B4-BE49-F238E27FC236}">
                <a16:creationId xmlns:a16="http://schemas.microsoft.com/office/drawing/2014/main" id="{0233082A-0017-40B4-808D-6538B4F010B8}"/>
              </a:ext>
            </a:extLst>
          </p:cNvPr>
          <p:cNvSpPr txBox="1"/>
          <p:nvPr>
            <p:custDataLst>
              <p:tags r:id="rId103"/>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rgbClr val="C0504D"/>
              </a:solidFill>
              <a:latin typeface="Calibri" panose="020F0502020204030204" pitchFamily="34" charset="0"/>
            </a:endParaRPr>
          </a:p>
        </p:txBody>
      </p:sp>
      <p:sp>
        <p:nvSpPr>
          <p:cNvPr id="121" name="OTLSHAPE_SLT_728670bf01094e668a93f6364e8de169_StartDate" hidden="1">
            <a:extLst>
              <a:ext uri="{FF2B5EF4-FFF2-40B4-BE49-F238E27FC236}">
                <a16:creationId xmlns:a16="http://schemas.microsoft.com/office/drawing/2014/main" id="{60D2A293-10F5-4EFF-B11F-7369F99B683D}"/>
              </a:ext>
            </a:extLst>
          </p:cNvPr>
          <p:cNvSpPr txBox="1"/>
          <p:nvPr>
            <p:custDataLst>
              <p:tags r:id="rId104"/>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124" name="OTLSHAPE_SLT_728670bf01094e668a93f6364e8de169_EndDate" hidden="1">
            <a:extLst>
              <a:ext uri="{FF2B5EF4-FFF2-40B4-BE49-F238E27FC236}">
                <a16:creationId xmlns:a16="http://schemas.microsoft.com/office/drawing/2014/main" id="{6B4A8C52-D2FA-444E-BA4E-FE985F205DEB}"/>
              </a:ext>
            </a:extLst>
          </p:cNvPr>
          <p:cNvSpPr txBox="1"/>
          <p:nvPr>
            <p:custDataLst>
              <p:tags r:id="rId105"/>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125" name="OTLSHAPE_SLT_728670bf01094e668a93f6364e8de169_Title">
            <a:extLst>
              <a:ext uri="{FF2B5EF4-FFF2-40B4-BE49-F238E27FC236}">
                <a16:creationId xmlns:a16="http://schemas.microsoft.com/office/drawing/2014/main" id="{24A75719-9893-47B4-BEF0-9CFFB6241F4D}"/>
              </a:ext>
            </a:extLst>
          </p:cNvPr>
          <p:cNvSpPr txBox="1"/>
          <p:nvPr>
            <p:custDataLst>
              <p:tags r:id="rId106"/>
            </p:custDataLst>
          </p:nvPr>
        </p:nvSpPr>
        <p:spPr>
          <a:xfrm>
            <a:off x="2954197" y="2469303"/>
            <a:ext cx="647700" cy="124037"/>
          </a:xfrm>
          <a:prstGeom prst="rect">
            <a:avLst/>
          </a:prstGeom>
          <a:noFill/>
        </p:spPr>
        <p:txBody>
          <a:bodyPr vert="horz" wrap="square" lIns="0" tIns="0" rIns="0" bIns="0" rtlCol="0" anchor="ctr" anchorCtr="0">
            <a:spAutoFit/>
          </a:bodyPr>
          <a:lstStyle/>
          <a:p>
            <a:pPr algn="r"/>
            <a:r>
              <a:rPr lang="en-AU" sz="800" b="1">
                <a:solidFill>
                  <a:schemeClr val="dk1"/>
                </a:solidFill>
                <a:latin typeface="Calibri" panose="020F0502020204030204" pitchFamily="34" charset="0"/>
              </a:rPr>
              <a:t>S3: Alpha Build</a:t>
            </a:r>
          </a:p>
        </p:txBody>
      </p:sp>
      <p:sp>
        <p:nvSpPr>
          <p:cNvPr id="126" name="OTLSHAPE_SLT_728670bf01094e668a93f6364e8de169_JoinedDate" hidden="1">
            <a:extLst>
              <a:ext uri="{FF2B5EF4-FFF2-40B4-BE49-F238E27FC236}">
                <a16:creationId xmlns:a16="http://schemas.microsoft.com/office/drawing/2014/main" id="{3066C0E6-9F97-411B-93BA-D1C9544726A0}"/>
              </a:ext>
            </a:extLst>
          </p:cNvPr>
          <p:cNvSpPr txBox="1"/>
          <p:nvPr>
            <p:custDataLst>
              <p:tags r:id="rId107"/>
            </p:custDataLst>
          </p:nvPr>
        </p:nvSpPr>
        <p:spPr>
          <a:xfrm>
            <a:off x="6567824" y="2858933"/>
            <a:ext cx="774700" cy="165100"/>
          </a:xfrm>
          <a:prstGeom prst="rect">
            <a:avLst/>
          </a:prstGeom>
          <a:noFill/>
        </p:spPr>
        <p:txBody>
          <a:bodyPr vert="horz" wrap="square" lIns="0" tIns="0" rIns="0" bIns="0" rtlCol="0" anchor="ctr" anchorCtr="0">
            <a:spAutoFit/>
          </a:bodyPr>
          <a:lstStyle/>
          <a:p>
            <a:r>
              <a:rPr lang="en-AU" sz="1000" spc="-3">
                <a:solidFill>
                  <a:schemeClr val="dk2"/>
                </a:solidFill>
                <a:latin typeface="Calibri" panose="020F0502020204030204" pitchFamily="34" charset="0"/>
              </a:rPr>
              <a:t>Oct 19 - Oct 30</a:t>
            </a:r>
          </a:p>
        </p:txBody>
      </p:sp>
      <p:sp>
        <p:nvSpPr>
          <p:cNvPr id="137" name="OTLSHAPE_SLM_32bf83aed685467d8920db510037242f_Title">
            <a:extLst>
              <a:ext uri="{FF2B5EF4-FFF2-40B4-BE49-F238E27FC236}">
                <a16:creationId xmlns:a16="http://schemas.microsoft.com/office/drawing/2014/main" id="{B6AC99CF-D7D1-445C-8EE3-441746043B32}"/>
              </a:ext>
            </a:extLst>
          </p:cNvPr>
          <p:cNvSpPr txBox="1"/>
          <p:nvPr>
            <p:custDataLst>
              <p:tags r:id="rId108"/>
            </p:custDataLst>
          </p:nvPr>
        </p:nvSpPr>
        <p:spPr>
          <a:xfrm>
            <a:off x="3374474" y="1844675"/>
            <a:ext cx="927100" cy="124037"/>
          </a:xfrm>
          <a:prstGeom prst="rect">
            <a:avLst/>
          </a:prstGeom>
          <a:noFill/>
        </p:spPr>
        <p:txBody>
          <a:bodyPr vert="horz" wrap="square" lIns="0" tIns="0" rIns="0" bIns="0" rtlCol="0" anchor="ctr" anchorCtr="0">
            <a:spAutoFit/>
          </a:bodyPr>
          <a:lstStyle/>
          <a:p>
            <a:r>
              <a:rPr lang="en-AU" sz="800" spc="-2" dirty="0">
                <a:solidFill>
                  <a:schemeClr val="dk1"/>
                </a:solidFill>
                <a:latin typeface="Calibri" panose="020F0502020204030204" pitchFamily="34" charset="0"/>
              </a:rPr>
              <a:t>Project Plan Approved</a:t>
            </a:r>
          </a:p>
        </p:txBody>
      </p:sp>
      <p:sp>
        <p:nvSpPr>
          <p:cNvPr id="138" name="OTLSHAPE_SLM_32bf83aed685467d8920db510037242f_Date">
            <a:extLst>
              <a:ext uri="{FF2B5EF4-FFF2-40B4-BE49-F238E27FC236}">
                <a16:creationId xmlns:a16="http://schemas.microsoft.com/office/drawing/2014/main" id="{79A0EBFE-146A-42F0-B875-82F02EA8019C}"/>
              </a:ext>
            </a:extLst>
          </p:cNvPr>
          <p:cNvSpPr txBox="1"/>
          <p:nvPr>
            <p:custDataLst>
              <p:tags r:id="rId109"/>
            </p:custDataLst>
          </p:nvPr>
        </p:nvSpPr>
        <p:spPr>
          <a:xfrm>
            <a:off x="3374474" y="1968712"/>
            <a:ext cx="673100" cy="124037"/>
          </a:xfrm>
          <a:prstGeom prst="rect">
            <a:avLst/>
          </a:prstGeom>
          <a:noFill/>
        </p:spPr>
        <p:txBody>
          <a:bodyPr vert="horz" wrap="square" lIns="0" tIns="0" rIns="0" bIns="0" rtlCol="0" anchor="ctr" anchorCtr="0">
            <a:spAutoFit/>
          </a:bodyPr>
          <a:lstStyle/>
          <a:p>
            <a:r>
              <a:rPr lang="en-AU" sz="800" dirty="0">
                <a:solidFill>
                  <a:schemeClr val="dk2"/>
                </a:solidFill>
                <a:latin typeface="Calibri" panose="020F0502020204030204" pitchFamily="34" charset="0"/>
              </a:rPr>
              <a:t>October 5, 2020</a:t>
            </a:r>
          </a:p>
        </p:txBody>
      </p:sp>
      <p:sp>
        <p:nvSpPr>
          <p:cNvPr id="19" name="OTLSHAPE_TB_00000000000000000000000000000000_TimescaleInterval8">
            <a:extLst>
              <a:ext uri="{FF2B5EF4-FFF2-40B4-BE49-F238E27FC236}">
                <a16:creationId xmlns:a16="http://schemas.microsoft.com/office/drawing/2014/main" id="{36B9A1A1-4A99-4202-A5B6-EB931B80F660}"/>
              </a:ext>
            </a:extLst>
          </p:cNvPr>
          <p:cNvSpPr txBox="1"/>
          <p:nvPr>
            <p:custDataLst>
              <p:tags r:id="rId110"/>
            </p:custDataLst>
          </p:nvPr>
        </p:nvSpPr>
        <p:spPr>
          <a:xfrm>
            <a:off x="7404884" y="1154748"/>
            <a:ext cx="255776" cy="186055"/>
          </a:xfrm>
          <a:prstGeom prst="rect">
            <a:avLst/>
          </a:prstGeom>
          <a:noFill/>
        </p:spPr>
        <p:txBody>
          <a:bodyPr vert="horz" wrap="none" lIns="0" tIns="0" rIns="0" bIns="0" rtlCol="0" anchor="ctr" anchorCtr="0">
            <a:noAutofit/>
          </a:bodyPr>
          <a:lstStyle/>
          <a:p>
            <a:r>
              <a:rPr lang="en-AU" sz="1200" spc="-18">
                <a:solidFill>
                  <a:schemeClr val="lt1"/>
                </a:solidFill>
                <a:latin typeface="Calibri" panose="020F0502020204030204" pitchFamily="34" charset="0"/>
              </a:rPr>
              <a:t>Mar</a:t>
            </a:r>
          </a:p>
        </p:txBody>
      </p:sp>
      <p:sp>
        <p:nvSpPr>
          <p:cNvPr id="77" name="OTLSHAPE_SLT_ca3dbe400c15423493b6c02e5f17ffcf_Duration" hidden="1">
            <a:extLst>
              <a:ext uri="{FF2B5EF4-FFF2-40B4-BE49-F238E27FC236}">
                <a16:creationId xmlns:a16="http://schemas.microsoft.com/office/drawing/2014/main" id="{A42AB287-217C-4E65-A8D5-92E2FA6BCDB0}"/>
              </a:ext>
            </a:extLst>
          </p:cNvPr>
          <p:cNvSpPr txBox="1"/>
          <p:nvPr>
            <p:custDataLst>
              <p:tags r:id="rId111"/>
            </p:custDataLst>
          </p:nvPr>
        </p:nvSpPr>
        <p:spPr>
          <a:xfrm>
            <a:off x="9525" y="-267116"/>
            <a:ext cx="330200" cy="165100"/>
          </a:xfrm>
          <a:prstGeom prst="rect">
            <a:avLst/>
          </a:prstGeom>
          <a:noFill/>
        </p:spPr>
        <p:txBody>
          <a:bodyPr vert="horz" wrap="square" lIns="0" tIns="0" rIns="0" bIns="0" rtlCol="0" anchor="ctr" anchorCtr="0">
            <a:spAutoFit/>
          </a:bodyPr>
          <a:lstStyle/>
          <a:p>
            <a:r>
              <a:rPr lang="en-AU" sz="1000">
                <a:solidFill>
                  <a:srgbClr val="ED7D31"/>
                </a:solidFill>
                <a:latin typeface="Calibri" panose="020F0502020204030204" pitchFamily="34" charset="0"/>
              </a:rPr>
              <a:t>9 days</a:t>
            </a:r>
          </a:p>
        </p:txBody>
      </p:sp>
      <p:sp>
        <p:nvSpPr>
          <p:cNvPr id="78" name="OTLSHAPE_SLT_ca3dbe400c15423493b6c02e5f17ffcf_TextPercentage" hidden="1">
            <a:extLst>
              <a:ext uri="{FF2B5EF4-FFF2-40B4-BE49-F238E27FC236}">
                <a16:creationId xmlns:a16="http://schemas.microsoft.com/office/drawing/2014/main" id="{C0E230A7-C5C9-48C9-A537-9F75A8E75DAD}"/>
              </a:ext>
            </a:extLst>
          </p:cNvPr>
          <p:cNvSpPr txBox="1"/>
          <p:nvPr>
            <p:custDataLst>
              <p:tags r:id="rId112"/>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rgbClr val="C0504D"/>
              </a:solidFill>
              <a:latin typeface="Calibri" panose="020F0502020204030204" pitchFamily="34" charset="0"/>
            </a:endParaRPr>
          </a:p>
        </p:txBody>
      </p:sp>
      <p:sp>
        <p:nvSpPr>
          <p:cNvPr id="79" name="OTLSHAPE_SLT_ca3dbe400c15423493b6c02e5f17ffcf_StartDate" hidden="1">
            <a:extLst>
              <a:ext uri="{FF2B5EF4-FFF2-40B4-BE49-F238E27FC236}">
                <a16:creationId xmlns:a16="http://schemas.microsoft.com/office/drawing/2014/main" id="{D9B8D868-F9EE-4AAA-A449-CB4D8A5A8DB5}"/>
              </a:ext>
            </a:extLst>
          </p:cNvPr>
          <p:cNvSpPr txBox="1"/>
          <p:nvPr>
            <p:custDataLst>
              <p:tags r:id="rId113"/>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80" name="OTLSHAPE_SLT_ca3dbe400c15423493b6c02e5f17ffcf_EndDate" hidden="1">
            <a:extLst>
              <a:ext uri="{FF2B5EF4-FFF2-40B4-BE49-F238E27FC236}">
                <a16:creationId xmlns:a16="http://schemas.microsoft.com/office/drawing/2014/main" id="{326F3825-D9CD-4442-8EFD-5B5CC3FB5806}"/>
              </a:ext>
            </a:extLst>
          </p:cNvPr>
          <p:cNvSpPr txBox="1"/>
          <p:nvPr>
            <p:custDataLst>
              <p:tags r:id="rId114"/>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81" name="OTLSHAPE_SLT_ca3dbe400c15423493b6c02e5f17ffcf_JoinedDate" hidden="1">
            <a:extLst>
              <a:ext uri="{FF2B5EF4-FFF2-40B4-BE49-F238E27FC236}">
                <a16:creationId xmlns:a16="http://schemas.microsoft.com/office/drawing/2014/main" id="{5E8998BC-5D5E-48F5-9EE6-86A2ADAE2E17}"/>
              </a:ext>
            </a:extLst>
          </p:cNvPr>
          <p:cNvSpPr txBox="1"/>
          <p:nvPr>
            <p:custDataLst>
              <p:tags r:id="rId115"/>
            </p:custDataLst>
          </p:nvPr>
        </p:nvSpPr>
        <p:spPr>
          <a:xfrm>
            <a:off x="3003274" y="3838230"/>
            <a:ext cx="723900" cy="165100"/>
          </a:xfrm>
          <a:prstGeom prst="rect">
            <a:avLst/>
          </a:prstGeom>
          <a:noFill/>
        </p:spPr>
        <p:txBody>
          <a:bodyPr vert="horz" wrap="square" lIns="0" tIns="0" rIns="0" bIns="0" rtlCol="0" anchor="ctr" anchorCtr="0">
            <a:spAutoFit/>
          </a:bodyPr>
          <a:lstStyle/>
          <a:p>
            <a:r>
              <a:rPr lang="en-AU" sz="1000" spc="-3">
                <a:solidFill>
                  <a:schemeClr val="dk2"/>
                </a:solidFill>
                <a:latin typeface="Calibri" panose="020F0502020204030204" pitchFamily="34" charset="0"/>
              </a:rPr>
              <a:t>Sep 21 - Oct 2</a:t>
            </a:r>
          </a:p>
        </p:txBody>
      </p:sp>
      <p:sp>
        <p:nvSpPr>
          <p:cNvPr id="82" name="OTLSHAPE_SLT_ca3dbe400c15423493b6c02e5f17ffcf_Title">
            <a:extLst>
              <a:ext uri="{FF2B5EF4-FFF2-40B4-BE49-F238E27FC236}">
                <a16:creationId xmlns:a16="http://schemas.microsoft.com/office/drawing/2014/main" id="{15F7599E-3C70-4858-BAEB-F1EE6612A714}"/>
              </a:ext>
            </a:extLst>
          </p:cNvPr>
          <p:cNvSpPr txBox="1"/>
          <p:nvPr>
            <p:custDataLst>
              <p:tags r:id="rId116"/>
            </p:custDataLst>
          </p:nvPr>
        </p:nvSpPr>
        <p:spPr>
          <a:xfrm>
            <a:off x="1422138" y="3912023"/>
            <a:ext cx="1384300" cy="124037"/>
          </a:xfrm>
          <a:prstGeom prst="rect">
            <a:avLst/>
          </a:prstGeom>
          <a:noFill/>
        </p:spPr>
        <p:txBody>
          <a:bodyPr vert="horz" wrap="square" lIns="0" tIns="0" rIns="0" bIns="0" rtlCol="0" anchor="ctr" anchorCtr="0">
            <a:spAutoFit/>
          </a:bodyPr>
          <a:lstStyle/>
          <a:p>
            <a:pPr algn="r"/>
            <a:r>
              <a:rPr lang="en-AU" sz="800" b="1" spc="-2" dirty="0">
                <a:solidFill>
                  <a:schemeClr val="dk1"/>
                </a:solidFill>
                <a:latin typeface="Calibri" panose="020F0502020204030204" pitchFamily="34" charset="0"/>
              </a:rPr>
              <a:t>S1: Vendor Discovery Workshops</a:t>
            </a:r>
          </a:p>
        </p:txBody>
      </p:sp>
      <p:sp>
        <p:nvSpPr>
          <p:cNvPr id="85" name="OTLSHAPE_SLT_07b98bcf678d4671aa63e6c90f0402aa_Duration" hidden="1">
            <a:extLst>
              <a:ext uri="{FF2B5EF4-FFF2-40B4-BE49-F238E27FC236}">
                <a16:creationId xmlns:a16="http://schemas.microsoft.com/office/drawing/2014/main" id="{FCBB2DC1-FB00-4A46-A8B2-36F0AC24B9EF}"/>
              </a:ext>
            </a:extLst>
          </p:cNvPr>
          <p:cNvSpPr txBox="1"/>
          <p:nvPr>
            <p:custDataLst>
              <p:tags r:id="rId117"/>
            </p:custDataLst>
          </p:nvPr>
        </p:nvSpPr>
        <p:spPr>
          <a:xfrm>
            <a:off x="9525" y="-267116"/>
            <a:ext cx="330200" cy="165100"/>
          </a:xfrm>
          <a:prstGeom prst="rect">
            <a:avLst/>
          </a:prstGeom>
          <a:noFill/>
        </p:spPr>
        <p:txBody>
          <a:bodyPr vert="horz" wrap="square" lIns="0" tIns="0" rIns="0" bIns="0" rtlCol="0" anchor="ctr" anchorCtr="0">
            <a:spAutoFit/>
          </a:bodyPr>
          <a:lstStyle/>
          <a:p>
            <a:r>
              <a:rPr lang="en-AU" sz="1000">
                <a:solidFill>
                  <a:srgbClr val="ED7D31"/>
                </a:solidFill>
                <a:latin typeface="Calibri" panose="020F0502020204030204" pitchFamily="34" charset="0"/>
              </a:rPr>
              <a:t>9 days</a:t>
            </a:r>
          </a:p>
        </p:txBody>
      </p:sp>
      <p:sp>
        <p:nvSpPr>
          <p:cNvPr id="100" name="OTLSHAPE_SLT_07b98bcf678d4671aa63e6c90f0402aa_TextPercentage" hidden="1">
            <a:extLst>
              <a:ext uri="{FF2B5EF4-FFF2-40B4-BE49-F238E27FC236}">
                <a16:creationId xmlns:a16="http://schemas.microsoft.com/office/drawing/2014/main" id="{13AE4A4A-6599-444F-A8B2-AE72FC39FC8A}"/>
              </a:ext>
            </a:extLst>
          </p:cNvPr>
          <p:cNvSpPr txBox="1"/>
          <p:nvPr>
            <p:custDataLst>
              <p:tags r:id="rId118"/>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rgbClr val="C0504D"/>
              </a:solidFill>
              <a:latin typeface="Calibri" panose="020F0502020204030204" pitchFamily="34" charset="0"/>
            </a:endParaRPr>
          </a:p>
        </p:txBody>
      </p:sp>
      <p:sp>
        <p:nvSpPr>
          <p:cNvPr id="101" name="OTLSHAPE_SLT_07b98bcf678d4671aa63e6c90f0402aa_StartDate" hidden="1">
            <a:extLst>
              <a:ext uri="{FF2B5EF4-FFF2-40B4-BE49-F238E27FC236}">
                <a16:creationId xmlns:a16="http://schemas.microsoft.com/office/drawing/2014/main" id="{6109F8EA-AE48-47A7-8B84-10DAFF86C030}"/>
              </a:ext>
            </a:extLst>
          </p:cNvPr>
          <p:cNvSpPr txBox="1"/>
          <p:nvPr>
            <p:custDataLst>
              <p:tags r:id="rId119"/>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102" name="OTLSHAPE_SLT_07b98bcf678d4671aa63e6c90f0402aa_EndDate" hidden="1">
            <a:extLst>
              <a:ext uri="{FF2B5EF4-FFF2-40B4-BE49-F238E27FC236}">
                <a16:creationId xmlns:a16="http://schemas.microsoft.com/office/drawing/2014/main" id="{E0CB9BD8-CFFA-493F-90EC-05F863970117}"/>
              </a:ext>
            </a:extLst>
          </p:cNvPr>
          <p:cNvSpPr txBox="1"/>
          <p:nvPr>
            <p:custDataLst>
              <p:tags r:id="rId120"/>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103" name="OTLSHAPE_SLT_07b98bcf678d4671aa63e6c90f0402aa_JoinedDate" hidden="1">
            <a:extLst>
              <a:ext uri="{FF2B5EF4-FFF2-40B4-BE49-F238E27FC236}">
                <a16:creationId xmlns:a16="http://schemas.microsoft.com/office/drawing/2014/main" id="{F19EB780-7F12-49C0-9025-2475462F6A90}"/>
              </a:ext>
            </a:extLst>
          </p:cNvPr>
          <p:cNvSpPr txBox="1"/>
          <p:nvPr>
            <p:custDataLst>
              <p:tags r:id="rId121"/>
            </p:custDataLst>
          </p:nvPr>
        </p:nvSpPr>
        <p:spPr>
          <a:xfrm>
            <a:off x="3429402" y="3838230"/>
            <a:ext cx="711200" cy="165100"/>
          </a:xfrm>
          <a:prstGeom prst="rect">
            <a:avLst/>
          </a:prstGeom>
          <a:noFill/>
        </p:spPr>
        <p:txBody>
          <a:bodyPr vert="horz" wrap="square" lIns="0" tIns="0" rIns="0" bIns="0" rtlCol="0" anchor="ctr" anchorCtr="0">
            <a:spAutoFit/>
          </a:bodyPr>
          <a:lstStyle/>
          <a:p>
            <a:r>
              <a:rPr lang="en-AU" sz="1000" spc="-3">
                <a:solidFill>
                  <a:schemeClr val="dk2"/>
                </a:solidFill>
                <a:latin typeface="Calibri" panose="020F0502020204030204" pitchFamily="34" charset="0"/>
              </a:rPr>
              <a:t>Oct 5 - Oct 16</a:t>
            </a:r>
          </a:p>
        </p:txBody>
      </p:sp>
      <p:sp>
        <p:nvSpPr>
          <p:cNvPr id="104" name="OTLSHAPE_SLT_07b98bcf678d4671aa63e6c90f0402aa_Title">
            <a:extLst>
              <a:ext uri="{FF2B5EF4-FFF2-40B4-BE49-F238E27FC236}">
                <a16:creationId xmlns:a16="http://schemas.microsoft.com/office/drawing/2014/main" id="{B2684D14-7D9F-4C44-9B46-4280FFA27336}"/>
              </a:ext>
            </a:extLst>
          </p:cNvPr>
          <p:cNvSpPr txBox="1"/>
          <p:nvPr>
            <p:custDataLst>
              <p:tags r:id="rId122"/>
            </p:custDataLst>
          </p:nvPr>
        </p:nvSpPr>
        <p:spPr>
          <a:xfrm>
            <a:off x="1976331" y="4201160"/>
            <a:ext cx="1231900" cy="124037"/>
          </a:xfrm>
          <a:prstGeom prst="rect">
            <a:avLst/>
          </a:prstGeom>
          <a:noFill/>
        </p:spPr>
        <p:txBody>
          <a:bodyPr vert="horz" wrap="square" lIns="0" tIns="0" rIns="0" bIns="0" rtlCol="0" anchor="ctr" anchorCtr="0">
            <a:spAutoFit/>
          </a:bodyPr>
          <a:lstStyle/>
          <a:p>
            <a:pPr algn="r"/>
            <a:r>
              <a:rPr lang="en-AU" sz="800" b="1" spc="-2">
                <a:solidFill>
                  <a:schemeClr val="dk1"/>
                </a:solidFill>
                <a:latin typeface="Calibri" panose="020F0502020204030204" pitchFamily="34" charset="0"/>
              </a:rPr>
              <a:t>S2: First Vendor Entitlements</a:t>
            </a:r>
            <a:endParaRPr lang="en-AU" sz="800" b="1" spc="-2" dirty="0">
              <a:solidFill>
                <a:schemeClr val="dk1"/>
              </a:solidFill>
              <a:latin typeface="Calibri" panose="020F0502020204030204" pitchFamily="34" charset="0"/>
            </a:endParaRPr>
          </a:p>
        </p:txBody>
      </p:sp>
      <p:sp>
        <p:nvSpPr>
          <p:cNvPr id="108" name="OTLSHAPE_SLT_58ae6866241b4d6383514dfada952b78_Duration" hidden="1">
            <a:extLst>
              <a:ext uri="{FF2B5EF4-FFF2-40B4-BE49-F238E27FC236}">
                <a16:creationId xmlns:a16="http://schemas.microsoft.com/office/drawing/2014/main" id="{ECABA268-97F9-43BF-B8A8-1141B18B786B}"/>
              </a:ext>
            </a:extLst>
          </p:cNvPr>
          <p:cNvSpPr txBox="1"/>
          <p:nvPr>
            <p:custDataLst>
              <p:tags r:id="rId123"/>
            </p:custDataLst>
          </p:nvPr>
        </p:nvSpPr>
        <p:spPr>
          <a:xfrm>
            <a:off x="9525" y="-267116"/>
            <a:ext cx="330200" cy="165100"/>
          </a:xfrm>
          <a:prstGeom prst="rect">
            <a:avLst/>
          </a:prstGeom>
          <a:noFill/>
        </p:spPr>
        <p:txBody>
          <a:bodyPr vert="horz" wrap="square" lIns="0" tIns="0" rIns="0" bIns="0" rtlCol="0" anchor="ctr" anchorCtr="0">
            <a:spAutoFit/>
          </a:bodyPr>
          <a:lstStyle/>
          <a:p>
            <a:r>
              <a:rPr lang="en-AU" sz="1000">
                <a:solidFill>
                  <a:srgbClr val="ED7D31"/>
                </a:solidFill>
                <a:latin typeface="Calibri" panose="020F0502020204030204" pitchFamily="34" charset="0"/>
              </a:rPr>
              <a:t>9 days</a:t>
            </a:r>
          </a:p>
        </p:txBody>
      </p:sp>
      <p:sp>
        <p:nvSpPr>
          <p:cNvPr id="109" name="OTLSHAPE_SLT_58ae6866241b4d6383514dfada952b78_TextPercentage" hidden="1">
            <a:extLst>
              <a:ext uri="{FF2B5EF4-FFF2-40B4-BE49-F238E27FC236}">
                <a16:creationId xmlns:a16="http://schemas.microsoft.com/office/drawing/2014/main" id="{7E45A106-09D0-423E-A5C4-120FB9AFD613}"/>
              </a:ext>
            </a:extLst>
          </p:cNvPr>
          <p:cNvSpPr txBox="1"/>
          <p:nvPr>
            <p:custDataLst>
              <p:tags r:id="rId124"/>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rgbClr val="C0504D"/>
              </a:solidFill>
              <a:latin typeface="Calibri" panose="020F0502020204030204" pitchFamily="34" charset="0"/>
            </a:endParaRPr>
          </a:p>
        </p:txBody>
      </p:sp>
      <p:sp>
        <p:nvSpPr>
          <p:cNvPr id="110" name="OTLSHAPE_SLT_58ae6866241b4d6383514dfada952b78_StartDate" hidden="1">
            <a:extLst>
              <a:ext uri="{FF2B5EF4-FFF2-40B4-BE49-F238E27FC236}">
                <a16:creationId xmlns:a16="http://schemas.microsoft.com/office/drawing/2014/main" id="{B5107E8C-7990-465B-BEA6-1D7DB083CE20}"/>
              </a:ext>
            </a:extLst>
          </p:cNvPr>
          <p:cNvSpPr txBox="1"/>
          <p:nvPr>
            <p:custDataLst>
              <p:tags r:id="rId125"/>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111" name="OTLSHAPE_SLT_58ae6866241b4d6383514dfada952b78_EndDate" hidden="1">
            <a:extLst>
              <a:ext uri="{FF2B5EF4-FFF2-40B4-BE49-F238E27FC236}">
                <a16:creationId xmlns:a16="http://schemas.microsoft.com/office/drawing/2014/main" id="{4D79828B-0D88-4CB7-ABD9-C201D8561413}"/>
              </a:ext>
            </a:extLst>
          </p:cNvPr>
          <p:cNvSpPr txBox="1"/>
          <p:nvPr>
            <p:custDataLst>
              <p:tags r:id="rId126"/>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112" name="OTLSHAPE_SLT_58ae6866241b4d6383514dfada952b78_Title">
            <a:extLst>
              <a:ext uri="{FF2B5EF4-FFF2-40B4-BE49-F238E27FC236}">
                <a16:creationId xmlns:a16="http://schemas.microsoft.com/office/drawing/2014/main" id="{14BC543E-086B-42FA-AA1B-C99CE6A56F3C}"/>
              </a:ext>
            </a:extLst>
          </p:cNvPr>
          <p:cNvSpPr txBox="1"/>
          <p:nvPr>
            <p:custDataLst>
              <p:tags r:id="rId127"/>
            </p:custDataLst>
          </p:nvPr>
        </p:nvSpPr>
        <p:spPr>
          <a:xfrm>
            <a:off x="4223924" y="4490297"/>
            <a:ext cx="546100" cy="124037"/>
          </a:xfrm>
          <a:prstGeom prst="rect">
            <a:avLst/>
          </a:prstGeom>
          <a:noFill/>
        </p:spPr>
        <p:txBody>
          <a:bodyPr vert="horz" wrap="square" lIns="0" tIns="0" rIns="0" bIns="0" rtlCol="0" anchor="ctr" anchorCtr="0">
            <a:spAutoFit/>
          </a:bodyPr>
          <a:lstStyle/>
          <a:p>
            <a:pPr algn="r"/>
            <a:r>
              <a:rPr lang="en-AU" sz="800" b="1" spc="-4">
                <a:solidFill>
                  <a:schemeClr val="dk1"/>
                </a:solidFill>
                <a:latin typeface="Calibri" panose="020F0502020204030204" pitchFamily="34" charset="0"/>
              </a:rPr>
              <a:t>S6: Test Load</a:t>
            </a:r>
          </a:p>
        </p:txBody>
      </p:sp>
      <p:sp>
        <p:nvSpPr>
          <p:cNvPr id="113" name="OTLSHAPE_SLT_58ae6866241b4d6383514dfada952b78_JoinedDate" hidden="1">
            <a:extLst>
              <a:ext uri="{FF2B5EF4-FFF2-40B4-BE49-F238E27FC236}">
                <a16:creationId xmlns:a16="http://schemas.microsoft.com/office/drawing/2014/main" id="{95D57DC6-B4E9-41E5-B585-E88FC167E110}"/>
              </a:ext>
            </a:extLst>
          </p:cNvPr>
          <p:cNvSpPr txBox="1"/>
          <p:nvPr>
            <p:custDataLst>
              <p:tags r:id="rId128"/>
            </p:custDataLst>
          </p:nvPr>
        </p:nvSpPr>
        <p:spPr>
          <a:xfrm>
            <a:off x="3855529" y="4184777"/>
            <a:ext cx="812800" cy="165100"/>
          </a:xfrm>
          <a:prstGeom prst="rect">
            <a:avLst/>
          </a:prstGeom>
          <a:noFill/>
        </p:spPr>
        <p:txBody>
          <a:bodyPr vert="horz" wrap="square" lIns="0" tIns="0" rIns="0" bIns="0" rtlCol="0" anchor="ctr" anchorCtr="0">
            <a:spAutoFit/>
          </a:bodyPr>
          <a:lstStyle/>
          <a:p>
            <a:r>
              <a:rPr lang="en-AU" sz="1000" spc="-3">
                <a:solidFill>
                  <a:schemeClr val="dk2"/>
                </a:solidFill>
                <a:latin typeface="Calibri" panose="020F0502020204030204" pitchFamily="34" charset="0"/>
              </a:rPr>
              <a:t>Nov 30 - Dec 11</a:t>
            </a:r>
          </a:p>
        </p:txBody>
      </p:sp>
      <p:sp>
        <p:nvSpPr>
          <p:cNvPr id="128" name="OTLSHAPE_SLT_155dc0df6f4143a8a05b7f187d16f3cb_Duration" hidden="1">
            <a:extLst>
              <a:ext uri="{FF2B5EF4-FFF2-40B4-BE49-F238E27FC236}">
                <a16:creationId xmlns:a16="http://schemas.microsoft.com/office/drawing/2014/main" id="{4997F8F1-1A87-44FF-8934-73A168FCA500}"/>
              </a:ext>
            </a:extLst>
          </p:cNvPr>
          <p:cNvSpPr txBox="1"/>
          <p:nvPr>
            <p:custDataLst>
              <p:tags r:id="rId129"/>
            </p:custDataLst>
          </p:nvPr>
        </p:nvSpPr>
        <p:spPr>
          <a:xfrm>
            <a:off x="9525" y="-262912"/>
            <a:ext cx="330200" cy="165100"/>
          </a:xfrm>
          <a:prstGeom prst="rect">
            <a:avLst/>
          </a:prstGeom>
          <a:noFill/>
        </p:spPr>
        <p:txBody>
          <a:bodyPr vert="horz" wrap="square" lIns="0" tIns="0" rIns="0" bIns="0" rtlCol="0" anchor="ctr" anchorCtr="0">
            <a:spAutoFit/>
          </a:bodyPr>
          <a:lstStyle/>
          <a:p>
            <a:r>
              <a:rPr lang="en-AU" sz="1000">
                <a:solidFill>
                  <a:srgbClr val="ED7D31"/>
                </a:solidFill>
                <a:latin typeface="Calibri" panose="020F0502020204030204" pitchFamily="34" charset="0"/>
              </a:rPr>
              <a:t>9 days</a:t>
            </a:r>
          </a:p>
        </p:txBody>
      </p:sp>
      <p:sp>
        <p:nvSpPr>
          <p:cNvPr id="129" name="OTLSHAPE_SLT_155dc0df6f4143a8a05b7f187d16f3cb_TextPercentage" hidden="1">
            <a:extLst>
              <a:ext uri="{FF2B5EF4-FFF2-40B4-BE49-F238E27FC236}">
                <a16:creationId xmlns:a16="http://schemas.microsoft.com/office/drawing/2014/main" id="{0955C2B4-1233-4ECB-BCAB-C1591333FD8A}"/>
              </a:ext>
            </a:extLst>
          </p:cNvPr>
          <p:cNvSpPr txBox="1"/>
          <p:nvPr>
            <p:custDataLst>
              <p:tags r:id="rId130"/>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rgbClr val="C0504D"/>
              </a:solidFill>
              <a:latin typeface="Calibri" panose="020F0502020204030204" pitchFamily="34" charset="0"/>
            </a:endParaRPr>
          </a:p>
        </p:txBody>
      </p:sp>
      <p:sp>
        <p:nvSpPr>
          <p:cNvPr id="130" name="OTLSHAPE_SLT_155dc0df6f4143a8a05b7f187d16f3cb_StartDate" hidden="1">
            <a:extLst>
              <a:ext uri="{FF2B5EF4-FFF2-40B4-BE49-F238E27FC236}">
                <a16:creationId xmlns:a16="http://schemas.microsoft.com/office/drawing/2014/main" id="{E172529D-0CFE-47C4-A85B-B9EB73F09944}"/>
              </a:ext>
            </a:extLst>
          </p:cNvPr>
          <p:cNvSpPr txBox="1"/>
          <p:nvPr>
            <p:custDataLst>
              <p:tags r:id="rId131"/>
            </p:custDataLst>
          </p:nvPr>
        </p:nvSpPr>
        <p:spPr>
          <a:xfrm>
            <a:off x="9525" y="-175139"/>
            <a:ext cx="0" cy="0"/>
          </a:xfrm>
          <a:prstGeom prst="rect">
            <a:avLst/>
          </a:prstGeom>
          <a:noFill/>
        </p:spPr>
        <p:txBody>
          <a:bodyPr vert="horz" wrap="square" lIns="0" tIns="0" rIns="0" bIns="0" rtlCol="0" anchor="ctr" anchorCtr="0">
            <a:spAutoFit/>
          </a:bodyPr>
          <a:lstStyle/>
          <a:p>
            <a:endParaRPr lang="en-AU" sz="900">
              <a:solidFill>
                <a:schemeClr val="dk2"/>
              </a:solidFill>
              <a:latin typeface="Calibri" panose="020F0502020204030204" pitchFamily="34" charset="0"/>
            </a:endParaRPr>
          </a:p>
        </p:txBody>
      </p:sp>
      <p:sp>
        <p:nvSpPr>
          <p:cNvPr id="131" name="OTLSHAPE_SLT_155dc0df6f4143a8a05b7f187d16f3cb_EndDate" hidden="1">
            <a:extLst>
              <a:ext uri="{FF2B5EF4-FFF2-40B4-BE49-F238E27FC236}">
                <a16:creationId xmlns:a16="http://schemas.microsoft.com/office/drawing/2014/main" id="{37AC44FB-4087-41DC-AFF6-4D61BFFD79B2}"/>
              </a:ext>
            </a:extLst>
          </p:cNvPr>
          <p:cNvSpPr txBox="1"/>
          <p:nvPr>
            <p:custDataLst>
              <p:tags r:id="rId132"/>
            </p:custDataLst>
          </p:nvPr>
        </p:nvSpPr>
        <p:spPr>
          <a:xfrm>
            <a:off x="9525" y="-175139"/>
            <a:ext cx="0" cy="0"/>
          </a:xfrm>
          <a:prstGeom prst="rect">
            <a:avLst/>
          </a:prstGeom>
          <a:noFill/>
        </p:spPr>
        <p:txBody>
          <a:bodyPr vert="horz" wrap="square" lIns="0" tIns="0" rIns="0" bIns="0" rtlCol="0" anchor="ctr" anchorCtr="0">
            <a:spAutoFit/>
          </a:bodyPr>
          <a:lstStyle/>
          <a:p>
            <a:endParaRPr lang="en-AU" sz="900">
              <a:solidFill>
                <a:schemeClr val="dk2"/>
              </a:solidFill>
              <a:latin typeface="Calibri" panose="020F0502020204030204" pitchFamily="34" charset="0"/>
            </a:endParaRPr>
          </a:p>
        </p:txBody>
      </p:sp>
      <p:sp>
        <p:nvSpPr>
          <p:cNvPr id="132" name="OTLSHAPE_SLT_155dc0df6f4143a8a05b7f187d16f3cb_JoinedDate" hidden="1">
            <a:extLst>
              <a:ext uri="{FF2B5EF4-FFF2-40B4-BE49-F238E27FC236}">
                <a16:creationId xmlns:a16="http://schemas.microsoft.com/office/drawing/2014/main" id="{114A0D68-61DC-4A29-8B36-97212D3955CF}"/>
              </a:ext>
            </a:extLst>
          </p:cNvPr>
          <p:cNvSpPr txBox="1"/>
          <p:nvPr>
            <p:custDataLst>
              <p:tags r:id="rId133"/>
            </p:custDataLst>
          </p:nvPr>
        </p:nvSpPr>
        <p:spPr>
          <a:xfrm>
            <a:off x="3389560" y="4293738"/>
            <a:ext cx="698500" cy="139700"/>
          </a:xfrm>
          <a:prstGeom prst="rect">
            <a:avLst/>
          </a:prstGeom>
          <a:noFill/>
        </p:spPr>
        <p:txBody>
          <a:bodyPr vert="horz" wrap="square" lIns="0" tIns="0" rIns="0" bIns="0" rtlCol="0" anchor="ctr" anchorCtr="0">
            <a:spAutoFit/>
          </a:bodyPr>
          <a:lstStyle/>
          <a:p>
            <a:r>
              <a:rPr lang="en-AU" sz="900" dirty="0">
                <a:solidFill>
                  <a:schemeClr val="dk2"/>
                </a:solidFill>
                <a:latin typeface="Calibri" panose="020F0502020204030204" pitchFamily="34" charset="0"/>
              </a:rPr>
              <a:t>Oct 19 - Oct 30</a:t>
            </a:r>
          </a:p>
        </p:txBody>
      </p:sp>
      <p:sp>
        <p:nvSpPr>
          <p:cNvPr id="133" name="OTLSHAPE_SLT_155dc0df6f4143a8a05b7f187d16f3cb_Title">
            <a:extLst>
              <a:ext uri="{FF2B5EF4-FFF2-40B4-BE49-F238E27FC236}">
                <a16:creationId xmlns:a16="http://schemas.microsoft.com/office/drawing/2014/main" id="{CF1302AF-D178-4F1F-955B-A7FADB26174D}"/>
              </a:ext>
            </a:extLst>
          </p:cNvPr>
          <p:cNvSpPr txBox="1"/>
          <p:nvPr>
            <p:custDataLst>
              <p:tags r:id="rId134"/>
            </p:custDataLst>
          </p:nvPr>
        </p:nvSpPr>
        <p:spPr>
          <a:xfrm>
            <a:off x="3640039" y="4075642"/>
            <a:ext cx="787400" cy="124037"/>
          </a:xfrm>
          <a:prstGeom prst="rect">
            <a:avLst/>
          </a:prstGeom>
          <a:noFill/>
        </p:spPr>
        <p:txBody>
          <a:bodyPr vert="horz" wrap="square" lIns="0" tIns="0" rIns="0" bIns="0" rtlCol="0" anchor="ctr" anchorCtr="0">
            <a:spAutoFit/>
          </a:bodyPr>
          <a:lstStyle/>
          <a:p>
            <a:r>
              <a:rPr lang="en-AU" sz="800" b="1" dirty="0">
                <a:solidFill>
                  <a:schemeClr val="dk1"/>
                </a:solidFill>
                <a:latin typeface="Calibri" panose="020F0502020204030204" pitchFamily="34" charset="0"/>
              </a:rPr>
              <a:t>S3: Second Vendor</a:t>
            </a:r>
          </a:p>
        </p:txBody>
      </p:sp>
      <p:sp>
        <p:nvSpPr>
          <p:cNvPr id="140" name="OTLSHAPE_SLT_7bdba4668fa14a488e4a9a9748ee67d5_Duration" hidden="1">
            <a:extLst>
              <a:ext uri="{FF2B5EF4-FFF2-40B4-BE49-F238E27FC236}">
                <a16:creationId xmlns:a16="http://schemas.microsoft.com/office/drawing/2014/main" id="{28AE3FE6-6E65-4F6A-8703-6821C0476439}"/>
              </a:ext>
            </a:extLst>
          </p:cNvPr>
          <p:cNvSpPr txBox="1"/>
          <p:nvPr>
            <p:custDataLst>
              <p:tags r:id="rId135"/>
            </p:custDataLst>
          </p:nvPr>
        </p:nvSpPr>
        <p:spPr>
          <a:xfrm>
            <a:off x="9525" y="-267116"/>
            <a:ext cx="330200" cy="165100"/>
          </a:xfrm>
          <a:prstGeom prst="rect">
            <a:avLst/>
          </a:prstGeom>
          <a:noFill/>
        </p:spPr>
        <p:txBody>
          <a:bodyPr vert="horz" wrap="square" lIns="0" tIns="0" rIns="0" bIns="0" rtlCol="0" anchor="ctr" anchorCtr="0">
            <a:spAutoFit/>
          </a:bodyPr>
          <a:lstStyle/>
          <a:p>
            <a:r>
              <a:rPr lang="en-AU" sz="1000">
                <a:solidFill>
                  <a:srgbClr val="ED7D31"/>
                </a:solidFill>
                <a:latin typeface="Calibri" panose="020F0502020204030204" pitchFamily="34" charset="0"/>
              </a:rPr>
              <a:t>8 days</a:t>
            </a:r>
          </a:p>
        </p:txBody>
      </p:sp>
      <p:sp>
        <p:nvSpPr>
          <p:cNvPr id="141" name="OTLSHAPE_SLT_7bdba4668fa14a488e4a9a9748ee67d5_TextPercentage" hidden="1">
            <a:extLst>
              <a:ext uri="{FF2B5EF4-FFF2-40B4-BE49-F238E27FC236}">
                <a16:creationId xmlns:a16="http://schemas.microsoft.com/office/drawing/2014/main" id="{C589214A-B85C-4D38-A289-20154E960B0F}"/>
              </a:ext>
            </a:extLst>
          </p:cNvPr>
          <p:cNvSpPr txBox="1"/>
          <p:nvPr>
            <p:custDataLst>
              <p:tags r:id="rId136"/>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rgbClr val="C0504D"/>
              </a:solidFill>
              <a:latin typeface="Calibri" panose="020F0502020204030204" pitchFamily="34" charset="0"/>
            </a:endParaRPr>
          </a:p>
        </p:txBody>
      </p:sp>
      <p:sp>
        <p:nvSpPr>
          <p:cNvPr id="142" name="OTLSHAPE_SLT_7bdba4668fa14a488e4a9a9748ee67d5_StartDate" hidden="1">
            <a:extLst>
              <a:ext uri="{FF2B5EF4-FFF2-40B4-BE49-F238E27FC236}">
                <a16:creationId xmlns:a16="http://schemas.microsoft.com/office/drawing/2014/main" id="{E80A924C-ECB5-4511-B442-0A9F08FF9A0D}"/>
              </a:ext>
            </a:extLst>
          </p:cNvPr>
          <p:cNvSpPr txBox="1"/>
          <p:nvPr>
            <p:custDataLst>
              <p:tags r:id="rId137"/>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143" name="OTLSHAPE_SLT_7bdba4668fa14a488e4a9a9748ee67d5_EndDate" hidden="1">
            <a:extLst>
              <a:ext uri="{FF2B5EF4-FFF2-40B4-BE49-F238E27FC236}">
                <a16:creationId xmlns:a16="http://schemas.microsoft.com/office/drawing/2014/main" id="{3E0EC700-330C-4E0B-8498-951143F90E43}"/>
              </a:ext>
            </a:extLst>
          </p:cNvPr>
          <p:cNvSpPr txBox="1"/>
          <p:nvPr>
            <p:custDataLst>
              <p:tags r:id="rId138"/>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144" name="OTLSHAPE_SLT_7bdba4668fa14a488e4a9a9748ee67d5_Title">
            <a:extLst>
              <a:ext uri="{FF2B5EF4-FFF2-40B4-BE49-F238E27FC236}">
                <a16:creationId xmlns:a16="http://schemas.microsoft.com/office/drawing/2014/main" id="{E1A79BBB-177E-48A3-A54A-661CF3C5C0FB}"/>
              </a:ext>
            </a:extLst>
          </p:cNvPr>
          <p:cNvSpPr txBox="1"/>
          <p:nvPr>
            <p:custDataLst>
              <p:tags r:id="rId139"/>
            </p:custDataLst>
          </p:nvPr>
        </p:nvSpPr>
        <p:spPr>
          <a:xfrm>
            <a:off x="4060644" y="4326678"/>
            <a:ext cx="698500" cy="124037"/>
          </a:xfrm>
          <a:prstGeom prst="rect">
            <a:avLst/>
          </a:prstGeom>
          <a:noFill/>
        </p:spPr>
        <p:txBody>
          <a:bodyPr vert="horz" wrap="square" lIns="0" tIns="0" rIns="0" bIns="0" rtlCol="0" anchor="ctr" anchorCtr="0">
            <a:spAutoFit/>
          </a:bodyPr>
          <a:lstStyle/>
          <a:p>
            <a:r>
              <a:rPr lang="en-AU" sz="800" b="1" spc="-2" dirty="0">
                <a:solidFill>
                  <a:schemeClr val="dk1"/>
                </a:solidFill>
                <a:latin typeface="Calibri" panose="020F0502020204030204" pitchFamily="34" charset="0"/>
              </a:rPr>
              <a:t>S4: Third Vendor</a:t>
            </a:r>
          </a:p>
        </p:txBody>
      </p:sp>
      <p:sp>
        <p:nvSpPr>
          <p:cNvPr id="145" name="OTLSHAPE_SLT_7bdba4668fa14a488e4a9a9748ee67d5_JoinedDate" hidden="1">
            <a:extLst>
              <a:ext uri="{FF2B5EF4-FFF2-40B4-BE49-F238E27FC236}">
                <a16:creationId xmlns:a16="http://schemas.microsoft.com/office/drawing/2014/main" id="{D87EC8F9-D20A-4669-8045-2D83E7E33AAF}"/>
              </a:ext>
            </a:extLst>
          </p:cNvPr>
          <p:cNvSpPr txBox="1"/>
          <p:nvPr>
            <p:custDataLst>
              <p:tags r:id="rId140"/>
            </p:custDataLst>
          </p:nvPr>
        </p:nvSpPr>
        <p:spPr>
          <a:xfrm>
            <a:off x="4281657" y="4518442"/>
            <a:ext cx="762000" cy="165100"/>
          </a:xfrm>
          <a:prstGeom prst="rect">
            <a:avLst/>
          </a:prstGeom>
          <a:noFill/>
        </p:spPr>
        <p:txBody>
          <a:bodyPr vert="horz" wrap="square" lIns="0" tIns="0" rIns="0" bIns="0" rtlCol="0" anchor="ctr" anchorCtr="0">
            <a:spAutoFit/>
          </a:bodyPr>
          <a:lstStyle/>
          <a:p>
            <a:r>
              <a:rPr lang="en-AU" sz="1000" spc="-3">
                <a:solidFill>
                  <a:schemeClr val="dk2"/>
                </a:solidFill>
                <a:latin typeface="Calibri" panose="020F0502020204030204" pitchFamily="34" charset="0"/>
              </a:rPr>
              <a:t>Nov 3 - Nov 14</a:t>
            </a:r>
          </a:p>
        </p:txBody>
      </p:sp>
      <p:sp>
        <p:nvSpPr>
          <p:cNvPr id="150" name="OTLSHAPE_SLM_097fe035032e4cfe9e89d23ddd8d50cc_Title">
            <a:extLst>
              <a:ext uri="{FF2B5EF4-FFF2-40B4-BE49-F238E27FC236}">
                <a16:creationId xmlns:a16="http://schemas.microsoft.com/office/drawing/2014/main" id="{9C42CECB-9137-47B0-AAA1-00FBA21819E1}"/>
              </a:ext>
            </a:extLst>
          </p:cNvPr>
          <p:cNvSpPr txBox="1"/>
          <p:nvPr>
            <p:custDataLst>
              <p:tags r:id="rId141"/>
            </p:custDataLst>
          </p:nvPr>
        </p:nvSpPr>
        <p:spPr>
          <a:xfrm>
            <a:off x="6038307" y="4653915"/>
            <a:ext cx="520700" cy="124037"/>
          </a:xfrm>
          <a:prstGeom prst="rect">
            <a:avLst/>
          </a:prstGeom>
          <a:noFill/>
        </p:spPr>
        <p:txBody>
          <a:bodyPr vert="horz" wrap="square" lIns="0" tIns="0" rIns="0" bIns="0" rtlCol="0" anchor="ctr" anchorCtr="0">
            <a:spAutoFit/>
          </a:bodyPr>
          <a:lstStyle/>
          <a:p>
            <a:r>
              <a:rPr lang="en-AU" sz="800" spc="-2">
                <a:solidFill>
                  <a:schemeClr val="dk1"/>
                </a:solidFill>
                <a:latin typeface="Calibri" panose="020F0502020204030204" pitchFamily="34" charset="0"/>
              </a:rPr>
              <a:t>First Reports</a:t>
            </a:r>
          </a:p>
        </p:txBody>
      </p:sp>
      <p:sp>
        <p:nvSpPr>
          <p:cNvPr id="160" name="OTLSHAPE_SLM_097fe035032e4cfe9e89d23ddd8d50cc_Date">
            <a:extLst>
              <a:ext uri="{FF2B5EF4-FFF2-40B4-BE49-F238E27FC236}">
                <a16:creationId xmlns:a16="http://schemas.microsoft.com/office/drawing/2014/main" id="{2D095EDD-5902-41F9-A65B-2585C1690BD8}"/>
              </a:ext>
            </a:extLst>
          </p:cNvPr>
          <p:cNvSpPr txBox="1"/>
          <p:nvPr>
            <p:custDataLst>
              <p:tags r:id="rId142"/>
            </p:custDataLst>
          </p:nvPr>
        </p:nvSpPr>
        <p:spPr>
          <a:xfrm>
            <a:off x="6038307" y="4777952"/>
            <a:ext cx="647700" cy="124037"/>
          </a:xfrm>
          <a:prstGeom prst="rect">
            <a:avLst/>
          </a:prstGeom>
          <a:noFill/>
        </p:spPr>
        <p:txBody>
          <a:bodyPr vert="horz" wrap="square" lIns="0" tIns="0" rIns="0" bIns="0" rtlCol="0" anchor="ctr" anchorCtr="0">
            <a:spAutoFit/>
          </a:bodyPr>
          <a:lstStyle/>
          <a:p>
            <a:r>
              <a:rPr lang="en-AU" sz="800" dirty="0">
                <a:solidFill>
                  <a:schemeClr val="dk2"/>
                </a:solidFill>
                <a:latin typeface="Calibri" panose="020F0502020204030204" pitchFamily="34" charset="0"/>
              </a:rPr>
              <a:t>January 8, 2021</a:t>
            </a:r>
          </a:p>
        </p:txBody>
      </p:sp>
      <p:sp>
        <p:nvSpPr>
          <p:cNvPr id="177" name="OTLSHAPE_SLT_306552f19e4949e9baca24d0b456eac2_Duration" hidden="1">
            <a:extLst>
              <a:ext uri="{FF2B5EF4-FFF2-40B4-BE49-F238E27FC236}">
                <a16:creationId xmlns:a16="http://schemas.microsoft.com/office/drawing/2014/main" id="{3E3A8F89-E51D-4BB8-A1C8-EBF9465A2909}"/>
              </a:ext>
            </a:extLst>
          </p:cNvPr>
          <p:cNvSpPr txBox="1"/>
          <p:nvPr>
            <p:custDataLst>
              <p:tags r:id="rId143"/>
            </p:custDataLst>
          </p:nvPr>
        </p:nvSpPr>
        <p:spPr>
          <a:xfrm>
            <a:off x="9524" y="-320620"/>
            <a:ext cx="393700" cy="165100"/>
          </a:xfrm>
          <a:prstGeom prst="rect">
            <a:avLst/>
          </a:prstGeom>
          <a:noFill/>
        </p:spPr>
        <p:txBody>
          <a:bodyPr vert="horz" wrap="square" lIns="0" tIns="0" rIns="0" bIns="0" rtlCol="0" anchor="ctr" anchorCtr="0">
            <a:spAutoFit/>
          </a:bodyPr>
          <a:lstStyle/>
          <a:p>
            <a:r>
              <a:rPr lang="en-AU" sz="1000">
                <a:solidFill>
                  <a:srgbClr val="ED7D31"/>
                </a:solidFill>
                <a:latin typeface="Calibri" panose="020F0502020204030204" pitchFamily="34" charset="0"/>
              </a:rPr>
              <a:t>14 days</a:t>
            </a:r>
          </a:p>
        </p:txBody>
      </p:sp>
      <p:sp>
        <p:nvSpPr>
          <p:cNvPr id="178" name="OTLSHAPE_SLT_306552f19e4949e9baca24d0b456eac2_TextPercentage" hidden="1">
            <a:extLst>
              <a:ext uri="{FF2B5EF4-FFF2-40B4-BE49-F238E27FC236}">
                <a16:creationId xmlns:a16="http://schemas.microsoft.com/office/drawing/2014/main" id="{E5DC2A64-55B0-4622-99B4-4168BC1ADAB3}"/>
              </a:ext>
            </a:extLst>
          </p:cNvPr>
          <p:cNvSpPr txBox="1"/>
          <p:nvPr>
            <p:custDataLst>
              <p:tags r:id="rId144"/>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rgbClr val="C0504D"/>
              </a:solidFill>
              <a:latin typeface="Calibri" panose="020F0502020204030204" pitchFamily="34" charset="0"/>
            </a:endParaRPr>
          </a:p>
        </p:txBody>
      </p:sp>
      <p:sp>
        <p:nvSpPr>
          <p:cNvPr id="179" name="OTLSHAPE_SLT_306552f19e4949e9baca24d0b456eac2_StartDate" hidden="1">
            <a:extLst>
              <a:ext uri="{FF2B5EF4-FFF2-40B4-BE49-F238E27FC236}">
                <a16:creationId xmlns:a16="http://schemas.microsoft.com/office/drawing/2014/main" id="{8F469AFF-967D-4729-82C7-F9978D01CEAA}"/>
              </a:ext>
            </a:extLst>
          </p:cNvPr>
          <p:cNvSpPr txBox="1"/>
          <p:nvPr>
            <p:custDataLst>
              <p:tags r:id="rId145"/>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180" name="OTLSHAPE_SLT_306552f19e4949e9baca24d0b456eac2_EndDate" hidden="1">
            <a:extLst>
              <a:ext uri="{FF2B5EF4-FFF2-40B4-BE49-F238E27FC236}">
                <a16:creationId xmlns:a16="http://schemas.microsoft.com/office/drawing/2014/main" id="{8DF11B57-1C32-481C-8117-8D3B7D4EB655}"/>
              </a:ext>
            </a:extLst>
          </p:cNvPr>
          <p:cNvSpPr txBox="1"/>
          <p:nvPr>
            <p:custDataLst>
              <p:tags r:id="rId146"/>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181" name="OTLSHAPE_SLT_306552f19e4949e9baca24d0b456eac2_Title">
            <a:extLst>
              <a:ext uri="{FF2B5EF4-FFF2-40B4-BE49-F238E27FC236}">
                <a16:creationId xmlns:a16="http://schemas.microsoft.com/office/drawing/2014/main" id="{CE3D2258-11C2-4CFE-B828-15043D77DC9D}"/>
              </a:ext>
            </a:extLst>
          </p:cNvPr>
          <p:cNvSpPr txBox="1"/>
          <p:nvPr>
            <p:custDataLst>
              <p:tags r:id="rId147"/>
            </p:custDataLst>
          </p:nvPr>
        </p:nvSpPr>
        <p:spPr>
          <a:xfrm>
            <a:off x="4306439" y="3273213"/>
            <a:ext cx="863600" cy="124037"/>
          </a:xfrm>
          <a:prstGeom prst="rect">
            <a:avLst/>
          </a:prstGeom>
          <a:noFill/>
        </p:spPr>
        <p:txBody>
          <a:bodyPr vert="horz" wrap="square" lIns="0" tIns="0" rIns="0" bIns="0" rtlCol="0" anchor="ctr" anchorCtr="0">
            <a:spAutoFit/>
          </a:bodyPr>
          <a:lstStyle/>
          <a:p>
            <a:pPr algn="r"/>
            <a:r>
              <a:rPr lang="en-AU" sz="800" b="1">
                <a:solidFill>
                  <a:schemeClr val="dk1"/>
                </a:solidFill>
                <a:latin typeface="Calibri" panose="020F0502020204030204" pitchFamily="34" charset="0"/>
              </a:rPr>
              <a:t>S7: Production Build</a:t>
            </a:r>
          </a:p>
        </p:txBody>
      </p:sp>
      <p:sp>
        <p:nvSpPr>
          <p:cNvPr id="182" name="OTLSHAPE_SLT_306552f19e4949e9baca24d0b456eac2_JoinedDate" hidden="1">
            <a:extLst>
              <a:ext uri="{FF2B5EF4-FFF2-40B4-BE49-F238E27FC236}">
                <a16:creationId xmlns:a16="http://schemas.microsoft.com/office/drawing/2014/main" id="{8D12BF3F-E0BE-44D3-909D-6783B7335231}"/>
              </a:ext>
            </a:extLst>
          </p:cNvPr>
          <p:cNvSpPr txBox="1"/>
          <p:nvPr>
            <p:custDataLst>
              <p:tags r:id="rId148"/>
            </p:custDataLst>
          </p:nvPr>
        </p:nvSpPr>
        <p:spPr>
          <a:xfrm>
            <a:off x="5133912" y="2813150"/>
            <a:ext cx="711200" cy="165100"/>
          </a:xfrm>
          <a:prstGeom prst="rect">
            <a:avLst/>
          </a:prstGeom>
          <a:noFill/>
        </p:spPr>
        <p:txBody>
          <a:bodyPr vert="horz" wrap="square" lIns="0" tIns="0" rIns="0" bIns="0" rtlCol="0" anchor="ctr" anchorCtr="0">
            <a:spAutoFit/>
          </a:bodyPr>
          <a:lstStyle/>
          <a:p>
            <a:r>
              <a:rPr lang="en-AU" sz="1000" spc="-3">
                <a:solidFill>
                  <a:schemeClr val="dk2"/>
                </a:solidFill>
                <a:latin typeface="Calibri" panose="020F0502020204030204" pitchFamily="34" charset="0"/>
              </a:rPr>
              <a:t>Dec 14 - Jan 1</a:t>
            </a:r>
          </a:p>
        </p:txBody>
      </p:sp>
      <p:sp>
        <p:nvSpPr>
          <p:cNvPr id="189" name="OTLSHAPE_SLT_67775a39050346d8907b6dc8e613e6e2_Duration" hidden="1">
            <a:extLst>
              <a:ext uri="{FF2B5EF4-FFF2-40B4-BE49-F238E27FC236}">
                <a16:creationId xmlns:a16="http://schemas.microsoft.com/office/drawing/2014/main" id="{710F60D4-34CF-4E48-8070-EAB2E3C4AFFC}"/>
              </a:ext>
            </a:extLst>
          </p:cNvPr>
          <p:cNvSpPr txBox="1"/>
          <p:nvPr>
            <p:custDataLst>
              <p:tags r:id="rId149"/>
            </p:custDataLst>
          </p:nvPr>
        </p:nvSpPr>
        <p:spPr>
          <a:xfrm>
            <a:off x="9525" y="-320620"/>
            <a:ext cx="330200" cy="165100"/>
          </a:xfrm>
          <a:prstGeom prst="rect">
            <a:avLst/>
          </a:prstGeom>
          <a:noFill/>
        </p:spPr>
        <p:txBody>
          <a:bodyPr vert="horz" wrap="square" lIns="0" tIns="0" rIns="0" bIns="0" rtlCol="0" anchor="ctr" anchorCtr="0">
            <a:spAutoFit/>
          </a:bodyPr>
          <a:lstStyle/>
          <a:p>
            <a:r>
              <a:rPr lang="en-AU" sz="1000">
                <a:solidFill>
                  <a:srgbClr val="ED7D31"/>
                </a:solidFill>
                <a:latin typeface="Calibri" panose="020F0502020204030204" pitchFamily="34" charset="0"/>
              </a:rPr>
              <a:t>9 days</a:t>
            </a:r>
          </a:p>
        </p:txBody>
      </p:sp>
      <p:sp>
        <p:nvSpPr>
          <p:cNvPr id="190" name="OTLSHAPE_SLT_67775a39050346d8907b6dc8e613e6e2_TextPercentage" hidden="1">
            <a:extLst>
              <a:ext uri="{FF2B5EF4-FFF2-40B4-BE49-F238E27FC236}">
                <a16:creationId xmlns:a16="http://schemas.microsoft.com/office/drawing/2014/main" id="{A03792CB-FDB0-4FF2-9F00-551FA89C6F30}"/>
              </a:ext>
            </a:extLst>
          </p:cNvPr>
          <p:cNvSpPr txBox="1"/>
          <p:nvPr>
            <p:custDataLst>
              <p:tags r:id="rId150"/>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rgbClr val="C0504D"/>
              </a:solidFill>
              <a:latin typeface="Calibri" panose="020F0502020204030204" pitchFamily="34" charset="0"/>
            </a:endParaRPr>
          </a:p>
        </p:txBody>
      </p:sp>
      <p:sp>
        <p:nvSpPr>
          <p:cNvPr id="191" name="OTLSHAPE_SLT_67775a39050346d8907b6dc8e613e6e2_StartDate" hidden="1">
            <a:extLst>
              <a:ext uri="{FF2B5EF4-FFF2-40B4-BE49-F238E27FC236}">
                <a16:creationId xmlns:a16="http://schemas.microsoft.com/office/drawing/2014/main" id="{4B2C7BBB-885C-4266-BFB2-3D7A01A3CD0C}"/>
              </a:ext>
            </a:extLst>
          </p:cNvPr>
          <p:cNvSpPr txBox="1"/>
          <p:nvPr>
            <p:custDataLst>
              <p:tags r:id="rId151"/>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192" name="OTLSHAPE_SLT_67775a39050346d8907b6dc8e613e6e2_EndDate" hidden="1">
            <a:extLst>
              <a:ext uri="{FF2B5EF4-FFF2-40B4-BE49-F238E27FC236}">
                <a16:creationId xmlns:a16="http://schemas.microsoft.com/office/drawing/2014/main" id="{FD805BA0-9878-4F44-8E47-D126BAC4F65B}"/>
              </a:ext>
            </a:extLst>
          </p:cNvPr>
          <p:cNvSpPr txBox="1"/>
          <p:nvPr>
            <p:custDataLst>
              <p:tags r:id="rId152"/>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193" name="OTLSHAPE_SLT_67775a39050346d8907b6dc8e613e6e2_Title">
            <a:extLst>
              <a:ext uri="{FF2B5EF4-FFF2-40B4-BE49-F238E27FC236}">
                <a16:creationId xmlns:a16="http://schemas.microsoft.com/office/drawing/2014/main" id="{A7024011-80BE-4B64-A498-50643B9C59B6}"/>
              </a:ext>
            </a:extLst>
          </p:cNvPr>
          <p:cNvSpPr txBox="1"/>
          <p:nvPr>
            <p:custDataLst>
              <p:tags r:id="rId153"/>
            </p:custDataLst>
          </p:nvPr>
        </p:nvSpPr>
        <p:spPr>
          <a:xfrm>
            <a:off x="5404091" y="3584787"/>
            <a:ext cx="355600" cy="124037"/>
          </a:xfrm>
          <a:prstGeom prst="rect">
            <a:avLst/>
          </a:prstGeom>
          <a:noFill/>
        </p:spPr>
        <p:txBody>
          <a:bodyPr vert="horz" wrap="square" lIns="0" tIns="0" rIns="0" bIns="0" rtlCol="0" anchor="ctr" anchorCtr="0">
            <a:spAutoFit/>
          </a:bodyPr>
          <a:lstStyle/>
          <a:p>
            <a:pPr algn="r"/>
            <a:r>
              <a:rPr lang="en-AU" sz="800" b="1">
                <a:solidFill>
                  <a:schemeClr val="dk1"/>
                </a:solidFill>
                <a:latin typeface="Calibri" panose="020F0502020204030204" pitchFamily="34" charset="0"/>
              </a:rPr>
              <a:t>S8: Pilot</a:t>
            </a:r>
          </a:p>
        </p:txBody>
      </p:sp>
      <p:sp>
        <p:nvSpPr>
          <p:cNvPr id="194" name="OTLSHAPE_SLT_67775a39050346d8907b6dc8e613e6e2_JoinedDate" hidden="1">
            <a:extLst>
              <a:ext uri="{FF2B5EF4-FFF2-40B4-BE49-F238E27FC236}">
                <a16:creationId xmlns:a16="http://schemas.microsoft.com/office/drawing/2014/main" id="{D3810959-650F-47A6-860B-4BC917A829DC}"/>
              </a:ext>
            </a:extLst>
          </p:cNvPr>
          <p:cNvSpPr txBox="1"/>
          <p:nvPr>
            <p:custDataLst>
              <p:tags r:id="rId154"/>
            </p:custDataLst>
          </p:nvPr>
        </p:nvSpPr>
        <p:spPr>
          <a:xfrm>
            <a:off x="5133912" y="2999739"/>
            <a:ext cx="685800" cy="165100"/>
          </a:xfrm>
          <a:prstGeom prst="rect">
            <a:avLst/>
          </a:prstGeom>
          <a:noFill/>
        </p:spPr>
        <p:txBody>
          <a:bodyPr vert="horz" wrap="square" lIns="0" tIns="0" rIns="0" bIns="0" rtlCol="0" anchor="ctr" anchorCtr="0">
            <a:spAutoFit/>
          </a:bodyPr>
          <a:lstStyle/>
          <a:p>
            <a:r>
              <a:rPr lang="en-AU" sz="1000" spc="-3">
                <a:solidFill>
                  <a:schemeClr val="dk2"/>
                </a:solidFill>
                <a:latin typeface="Calibri" panose="020F0502020204030204" pitchFamily="34" charset="0"/>
              </a:rPr>
              <a:t>Jan 4 - Jan 15</a:t>
            </a:r>
          </a:p>
        </p:txBody>
      </p:sp>
      <p:sp>
        <p:nvSpPr>
          <p:cNvPr id="206" name="OTLSHAPE_SLM_16a9f781fbcf4348a90d41835fa3249e_Title">
            <a:extLst>
              <a:ext uri="{FF2B5EF4-FFF2-40B4-BE49-F238E27FC236}">
                <a16:creationId xmlns:a16="http://schemas.microsoft.com/office/drawing/2014/main" id="{A259FB56-C221-4A65-A20C-5C836F235B52}"/>
              </a:ext>
            </a:extLst>
          </p:cNvPr>
          <p:cNvSpPr txBox="1"/>
          <p:nvPr>
            <p:custDataLst>
              <p:tags r:id="rId155"/>
            </p:custDataLst>
          </p:nvPr>
        </p:nvSpPr>
        <p:spPr>
          <a:xfrm>
            <a:off x="5926146" y="3211195"/>
            <a:ext cx="609600" cy="124037"/>
          </a:xfrm>
          <a:prstGeom prst="rect">
            <a:avLst/>
          </a:prstGeom>
          <a:noFill/>
        </p:spPr>
        <p:txBody>
          <a:bodyPr vert="horz" wrap="square" lIns="0" tIns="0" rIns="0" bIns="0" rtlCol="0" anchor="ctr" anchorCtr="0">
            <a:spAutoFit/>
          </a:bodyPr>
          <a:lstStyle/>
          <a:p>
            <a:r>
              <a:rPr lang="en-AU" sz="800" spc="-2">
                <a:solidFill>
                  <a:schemeClr val="dk1"/>
                </a:solidFill>
                <a:latin typeface="Calibri" panose="020F0502020204030204" pitchFamily="34" charset="0"/>
              </a:rPr>
              <a:t>Ready for Pilot</a:t>
            </a:r>
          </a:p>
        </p:txBody>
      </p:sp>
      <p:sp>
        <p:nvSpPr>
          <p:cNvPr id="209" name="OTLSHAPE_SLM_16a9f781fbcf4348a90d41835fa3249e_Date">
            <a:extLst>
              <a:ext uri="{FF2B5EF4-FFF2-40B4-BE49-F238E27FC236}">
                <a16:creationId xmlns:a16="http://schemas.microsoft.com/office/drawing/2014/main" id="{CDB3FBEB-7A0F-4702-ABA3-491D574F3C62}"/>
              </a:ext>
            </a:extLst>
          </p:cNvPr>
          <p:cNvSpPr txBox="1"/>
          <p:nvPr>
            <p:custDataLst>
              <p:tags r:id="rId156"/>
            </p:custDataLst>
          </p:nvPr>
        </p:nvSpPr>
        <p:spPr>
          <a:xfrm>
            <a:off x="5926146" y="3335232"/>
            <a:ext cx="647700" cy="124037"/>
          </a:xfrm>
          <a:prstGeom prst="rect">
            <a:avLst/>
          </a:prstGeom>
          <a:noFill/>
        </p:spPr>
        <p:txBody>
          <a:bodyPr vert="horz" wrap="square" lIns="0" tIns="0" rIns="0" bIns="0" rtlCol="0" anchor="ctr" anchorCtr="0">
            <a:spAutoFit/>
          </a:bodyPr>
          <a:lstStyle/>
          <a:p>
            <a:r>
              <a:rPr lang="en-AU" sz="800">
                <a:solidFill>
                  <a:schemeClr val="dk2"/>
                </a:solidFill>
                <a:latin typeface="Calibri" panose="020F0502020204030204" pitchFamily="34" charset="0"/>
              </a:rPr>
              <a:t>January 4, 2021</a:t>
            </a:r>
          </a:p>
        </p:txBody>
      </p:sp>
      <p:sp>
        <p:nvSpPr>
          <p:cNvPr id="213" name="OTLSHAPE_SLM_26c569c01e6a47b8b9bb6219068dc08e_Title">
            <a:extLst>
              <a:ext uri="{FF2B5EF4-FFF2-40B4-BE49-F238E27FC236}">
                <a16:creationId xmlns:a16="http://schemas.microsoft.com/office/drawing/2014/main" id="{6EB5550D-857B-40F4-9267-44E745ECBFD3}"/>
              </a:ext>
            </a:extLst>
          </p:cNvPr>
          <p:cNvSpPr txBox="1"/>
          <p:nvPr>
            <p:custDataLst>
              <p:tags r:id="rId157"/>
            </p:custDataLst>
          </p:nvPr>
        </p:nvSpPr>
        <p:spPr>
          <a:xfrm>
            <a:off x="6430872" y="3522768"/>
            <a:ext cx="965200" cy="124037"/>
          </a:xfrm>
          <a:prstGeom prst="rect">
            <a:avLst/>
          </a:prstGeom>
          <a:noFill/>
        </p:spPr>
        <p:txBody>
          <a:bodyPr vert="horz" wrap="square" lIns="0" tIns="0" rIns="0" bIns="0" rtlCol="0" anchor="ctr" anchorCtr="0">
            <a:spAutoFit/>
          </a:bodyPr>
          <a:lstStyle/>
          <a:p>
            <a:r>
              <a:rPr lang="en-AU" sz="800" spc="-2">
                <a:solidFill>
                  <a:schemeClr val="dk1"/>
                </a:solidFill>
                <a:latin typeface="Calibri" panose="020F0502020204030204" pitchFamily="34" charset="0"/>
              </a:rPr>
              <a:t>Production Acceptance</a:t>
            </a:r>
          </a:p>
        </p:txBody>
      </p:sp>
      <p:sp>
        <p:nvSpPr>
          <p:cNvPr id="214" name="OTLSHAPE_SLM_26c569c01e6a47b8b9bb6219068dc08e_Date">
            <a:extLst>
              <a:ext uri="{FF2B5EF4-FFF2-40B4-BE49-F238E27FC236}">
                <a16:creationId xmlns:a16="http://schemas.microsoft.com/office/drawing/2014/main" id="{7DE5D01A-B969-4824-A734-0C6C9C522BB0}"/>
              </a:ext>
            </a:extLst>
          </p:cNvPr>
          <p:cNvSpPr txBox="1"/>
          <p:nvPr>
            <p:custDataLst>
              <p:tags r:id="rId158"/>
            </p:custDataLst>
          </p:nvPr>
        </p:nvSpPr>
        <p:spPr>
          <a:xfrm>
            <a:off x="6430872" y="3646805"/>
            <a:ext cx="711200" cy="124037"/>
          </a:xfrm>
          <a:prstGeom prst="rect">
            <a:avLst/>
          </a:prstGeom>
          <a:noFill/>
        </p:spPr>
        <p:txBody>
          <a:bodyPr vert="horz" wrap="square" lIns="0" tIns="0" rIns="0" bIns="0" rtlCol="0" anchor="ctr" anchorCtr="0">
            <a:spAutoFit/>
          </a:bodyPr>
          <a:lstStyle/>
          <a:p>
            <a:r>
              <a:rPr lang="en-AU" sz="800">
                <a:solidFill>
                  <a:schemeClr val="dk2"/>
                </a:solidFill>
                <a:latin typeface="Calibri" panose="020F0502020204030204" pitchFamily="34" charset="0"/>
              </a:rPr>
              <a:t>January 22, 2021</a:t>
            </a:r>
          </a:p>
        </p:txBody>
      </p:sp>
      <p:sp>
        <p:nvSpPr>
          <p:cNvPr id="217" name="OTLSHAPE_SLT_c10545ae124b445f98e117b285484894_Duration" hidden="1">
            <a:extLst>
              <a:ext uri="{FF2B5EF4-FFF2-40B4-BE49-F238E27FC236}">
                <a16:creationId xmlns:a16="http://schemas.microsoft.com/office/drawing/2014/main" id="{A1B0BCB7-C9F2-4763-8985-A63D8A0A3D6B}"/>
              </a:ext>
            </a:extLst>
          </p:cNvPr>
          <p:cNvSpPr txBox="1"/>
          <p:nvPr>
            <p:custDataLst>
              <p:tags r:id="rId159"/>
            </p:custDataLst>
          </p:nvPr>
        </p:nvSpPr>
        <p:spPr>
          <a:xfrm>
            <a:off x="9525" y="-267116"/>
            <a:ext cx="330200" cy="165100"/>
          </a:xfrm>
          <a:prstGeom prst="rect">
            <a:avLst/>
          </a:prstGeom>
          <a:noFill/>
        </p:spPr>
        <p:txBody>
          <a:bodyPr vert="horz" wrap="square" lIns="0" tIns="0" rIns="0" bIns="0" rtlCol="0" anchor="ctr" anchorCtr="0">
            <a:spAutoFit/>
          </a:bodyPr>
          <a:lstStyle/>
          <a:p>
            <a:r>
              <a:rPr lang="en-AU" sz="1000">
                <a:solidFill>
                  <a:srgbClr val="ED7D31"/>
                </a:solidFill>
                <a:latin typeface="Calibri" panose="020F0502020204030204" pitchFamily="34" charset="0"/>
              </a:rPr>
              <a:t>9 days</a:t>
            </a:r>
          </a:p>
        </p:txBody>
      </p:sp>
      <p:sp>
        <p:nvSpPr>
          <p:cNvPr id="218" name="OTLSHAPE_SLT_c10545ae124b445f98e117b285484894_TextPercentage" hidden="1">
            <a:extLst>
              <a:ext uri="{FF2B5EF4-FFF2-40B4-BE49-F238E27FC236}">
                <a16:creationId xmlns:a16="http://schemas.microsoft.com/office/drawing/2014/main" id="{AD9540CA-60AF-4EAF-8802-DD9020AE7606}"/>
              </a:ext>
            </a:extLst>
          </p:cNvPr>
          <p:cNvSpPr txBox="1"/>
          <p:nvPr>
            <p:custDataLst>
              <p:tags r:id="rId160"/>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rgbClr val="C0504D"/>
              </a:solidFill>
              <a:latin typeface="Calibri" panose="020F0502020204030204" pitchFamily="34" charset="0"/>
            </a:endParaRPr>
          </a:p>
        </p:txBody>
      </p:sp>
      <p:sp>
        <p:nvSpPr>
          <p:cNvPr id="223" name="OTLSHAPE_SLT_c10545ae124b445f98e117b285484894_StartDate" hidden="1">
            <a:extLst>
              <a:ext uri="{FF2B5EF4-FFF2-40B4-BE49-F238E27FC236}">
                <a16:creationId xmlns:a16="http://schemas.microsoft.com/office/drawing/2014/main" id="{4C62F4A5-4427-419E-A2D0-5081784F61E6}"/>
              </a:ext>
            </a:extLst>
          </p:cNvPr>
          <p:cNvSpPr txBox="1"/>
          <p:nvPr>
            <p:custDataLst>
              <p:tags r:id="rId161"/>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225" name="OTLSHAPE_SLT_c10545ae124b445f98e117b285484894_EndDate" hidden="1">
            <a:extLst>
              <a:ext uri="{FF2B5EF4-FFF2-40B4-BE49-F238E27FC236}">
                <a16:creationId xmlns:a16="http://schemas.microsoft.com/office/drawing/2014/main" id="{C3B38B61-D002-48A8-9F64-E7650BB21698}"/>
              </a:ext>
            </a:extLst>
          </p:cNvPr>
          <p:cNvSpPr txBox="1"/>
          <p:nvPr>
            <p:custDataLst>
              <p:tags r:id="rId162"/>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226" name="OTLSHAPE_SLT_c10545ae124b445f98e117b285484894_Title">
            <a:extLst>
              <a:ext uri="{FF2B5EF4-FFF2-40B4-BE49-F238E27FC236}">
                <a16:creationId xmlns:a16="http://schemas.microsoft.com/office/drawing/2014/main" id="{3F66737E-E2D8-43B8-A52E-CE68596AD074}"/>
              </a:ext>
            </a:extLst>
          </p:cNvPr>
          <p:cNvSpPr txBox="1"/>
          <p:nvPr>
            <p:custDataLst>
              <p:tags r:id="rId163"/>
            </p:custDataLst>
          </p:nvPr>
        </p:nvSpPr>
        <p:spPr>
          <a:xfrm>
            <a:off x="4784413" y="4201160"/>
            <a:ext cx="762000" cy="124037"/>
          </a:xfrm>
          <a:prstGeom prst="rect">
            <a:avLst/>
          </a:prstGeom>
          <a:noFill/>
        </p:spPr>
        <p:txBody>
          <a:bodyPr vert="horz" wrap="square" lIns="0" tIns="0" rIns="0" bIns="0" rtlCol="0" anchor="ctr" anchorCtr="0">
            <a:spAutoFit/>
          </a:bodyPr>
          <a:lstStyle/>
          <a:p>
            <a:r>
              <a:rPr lang="en-AU" sz="800" b="1">
                <a:solidFill>
                  <a:schemeClr val="dk1"/>
                </a:solidFill>
                <a:latin typeface="Calibri" panose="020F0502020204030204" pitchFamily="34" charset="0"/>
              </a:rPr>
              <a:t>S5: Fourth Vendor</a:t>
            </a:r>
          </a:p>
        </p:txBody>
      </p:sp>
      <p:sp>
        <p:nvSpPr>
          <p:cNvPr id="230" name="OTLSHAPE_SLT_c10545ae124b445f98e117b285484894_JoinedDate" hidden="1">
            <a:extLst>
              <a:ext uri="{FF2B5EF4-FFF2-40B4-BE49-F238E27FC236}">
                <a16:creationId xmlns:a16="http://schemas.microsoft.com/office/drawing/2014/main" id="{240DA762-1A36-4EBF-A32E-C6258C01E67F}"/>
              </a:ext>
            </a:extLst>
          </p:cNvPr>
          <p:cNvSpPr txBox="1"/>
          <p:nvPr>
            <p:custDataLst>
              <p:tags r:id="rId164"/>
            </p:custDataLst>
          </p:nvPr>
        </p:nvSpPr>
        <p:spPr>
          <a:xfrm>
            <a:off x="4707784" y="3870806"/>
            <a:ext cx="825500" cy="165100"/>
          </a:xfrm>
          <a:prstGeom prst="rect">
            <a:avLst/>
          </a:prstGeom>
          <a:noFill/>
        </p:spPr>
        <p:txBody>
          <a:bodyPr vert="horz" wrap="square" lIns="0" tIns="0" rIns="0" bIns="0" rtlCol="0" anchor="ctr" anchorCtr="0">
            <a:spAutoFit/>
          </a:bodyPr>
          <a:lstStyle/>
          <a:p>
            <a:r>
              <a:rPr lang="en-AU" sz="1000" spc="-3">
                <a:solidFill>
                  <a:schemeClr val="dk2"/>
                </a:solidFill>
                <a:latin typeface="Calibri" panose="020F0502020204030204" pitchFamily="34" charset="0"/>
              </a:rPr>
              <a:t>Nov 16 - Nov 27</a:t>
            </a:r>
          </a:p>
        </p:txBody>
      </p:sp>
      <p:sp>
        <p:nvSpPr>
          <p:cNvPr id="233" name="OTLSHAPE_SLT_af2f662ff7c6490fa50afc03c2081960_Duration" hidden="1">
            <a:extLst>
              <a:ext uri="{FF2B5EF4-FFF2-40B4-BE49-F238E27FC236}">
                <a16:creationId xmlns:a16="http://schemas.microsoft.com/office/drawing/2014/main" id="{6F4C70AD-98DD-438D-9E7D-E783E56ED022}"/>
              </a:ext>
            </a:extLst>
          </p:cNvPr>
          <p:cNvSpPr txBox="1"/>
          <p:nvPr>
            <p:custDataLst>
              <p:tags r:id="rId165"/>
            </p:custDataLst>
          </p:nvPr>
        </p:nvSpPr>
        <p:spPr>
          <a:xfrm>
            <a:off x="9524" y="-324825"/>
            <a:ext cx="393700" cy="165100"/>
          </a:xfrm>
          <a:prstGeom prst="rect">
            <a:avLst/>
          </a:prstGeom>
          <a:noFill/>
        </p:spPr>
        <p:txBody>
          <a:bodyPr vert="horz" wrap="square" lIns="0" tIns="0" rIns="0" bIns="0" rtlCol="0" anchor="ctr" anchorCtr="0">
            <a:spAutoFit/>
          </a:bodyPr>
          <a:lstStyle/>
          <a:p>
            <a:r>
              <a:rPr lang="en-AU" sz="1000">
                <a:solidFill>
                  <a:srgbClr val="ED7D31"/>
                </a:solidFill>
                <a:latin typeface="Calibri" panose="020F0502020204030204" pitchFamily="34" charset="0"/>
              </a:rPr>
              <a:t>14 days</a:t>
            </a:r>
          </a:p>
        </p:txBody>
      </p:sp>
      <p:sp>
        <p:nvSpPr>
          <p:cNvPr id="234" name="OTLSHAPE_SLT_af2f662ff7c6490fa50afc03c2081960_TextPercentage" hidden="1">
            <a:extLst>
              <a:ext uri="{FF2B5EF4-FFF2-40B4-BE49-F238E27FC236}">
                <a16:creationId xmlns:a16="http://schemas.microsoft.com/office/drawing/2014/main" id="{B40DE316-9778-4868-BC05-836AD14494B4}"/>
              </a:ext>
            </a:extLst>
          </p:cNvPr>
          <p:cNvSpPr txBox="1"/>
          <p:nvPr>
            <p:custDataLst>
              <p:tags r:id="rId166"/>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rgbClr val="C0504D"/>
              </a:solidFill>
              <a:latin typeface="Calibri" panose="020F0502020204030204" pitchFamily="34" charset="0"/>
            </a:endParaRPr>
          </a:p>
        </p:txBody>
      </p:sp>
      <p:sp>
        <p:nvSpPr>
          <p:cNvPr id="235" name="OTLSHAPE_SLT_af2f662ff7c6490fa50afc03c2081960_StartDate" hidden="1">
            <a:extLst>
              <a:ext uri="{FF2B5EF4-FFF2-40B4-BE49-F238E27FC236}">
                <a16:creationId xmlns:a16="http://schemas.microsoft.com/office/drawing/2014/main" id="{0A3F09C3-FD7C-4D0C-8023-0878C80BB70F}"/>
              </a:ext>
            </a:extLst>
          </p:cNvPr>
          <p:cNvSpPr txBox="1"/>
          <p:nvPr>
            <p:custDataLst>
              <p:tags r:id="rId167"/>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236" name="OTLSHAPE_SLT_af2f662ff7c6490fa50afc03c2081960_EndDate" hidden="1">
            <a:extLst>
              <a:ext uri="{FF2B5EF4-FFF2-40B4-BE49-F238E27FC236}">
                <a16:creationId xmlns:a16="http://schemas.microsoft.com/office/drawing/2014/main" id="{1BBBEFDF-6728-4E8D-AF56-DCF533E0A7A1}"/>
              </a:ext>
            </a:extLst>
          </p:cNvPr>
          <p:cNvSpPr txBox="1"/>
          <p:nvPr>
            <p:custDataLst>
              <p:tags r:id="rId168"/>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237" name="OTLSHAPE_SLT_af2f662ff7c6490fa50afc03c2081960_Title">
            <a:extLst>
              <a:ext uri="{FF2B5EF4-FFF2-40B4-BE49-F238E27FC236}">
                <a16:creationId xmlns:a16="http://schemas.microsoft.com/office/drawing/2014/main" id="{5E4FE10D-61DE-4B17-9912-FACE33A0CC77}"/>
              </a:ext>
            </a:extLst>
          </p:cNvPr>
          <p:cNvSpPr txBox="1"/>
          <p:nvPr>
            <p:custDataLst>
              <p:tags r:id="rId169"/>
            </p:custDataLst>
          </p:nvPr>
        </p:nvSpPr>
        <p:spPr>
          <a:xfrm>
            <a:off x="4320029" y="4715933"/>
            <a:ext cx="850900" cy="124037"/>
          </a:xfrm>
          <a:prstGeom prst="rect">
            <a:avLst/>
          </a:prstGeom>
          <a:noFill/>
        </p:spPr>
        <p:txBody>
          <a:bodyPr vert="horz" wrap="square" lIns="0" tIns="0" rIns="0" bIns="0" rtlCol="0" anchor="ctr" anchorCtr="0">
            <a:spAutoFit/>
          </a:bodyPr>
          <a:lstStyle/>
          <a:p>
            <a:pPr algn="r"/>
            <a:r>
              <a:rPr lang="en-AU" sz="800" b="1">
                <a:solidFill>
                  <a:schemeClr val="dk1"/>
                </a:solidFill>
                <a:latin typeface="Calibri" panose="020F0502020204030204" pitchFamily="34" charset="0"/>
              </a:rPr>
              <a:t>S7: Production Load</a:t>
            </a:r>
          </a:p>
        </p:txBody>
      </p:sp>
      <p:sp>
        <p:nvSpPr>
          <p:cNvPr id="238" name="OTLSHAPE_SLT_af2f662ff7c6490fa50afc03c2081960_JoinedDate" hidden="1">
            <a:extLst>
              <a:ext uri="{FF2B5EF4-FFF2-40B4-BE49-F238E27FC236}">
                <a16:creationId xmlns:a16="http://schemas.microsoft.com/office/drawing/2014/main" id="{1517EABC-3A23-46EE-A7E6-1D24D64EE761}"/>
              </a:ext>
            </a:extLst>
          </p:cNvPr>
          <p:cNvSpPr txBox="1"/>
          <p:nvPr>
            <p:custDataLst>
              <p:tags r:id="rId170"/>
            </p:custDataLst>
          </p:nvPr>
        </p:nvSpPr>
        <p:spPr>
          <a:xfrm>
            <a:off x="5773103" y="4027269"/>
            <a:ext cx="711200" cy="165100"/>
          </a:xfrm>
          <a:prstGeom prst="rect">
            <a:avLst/>
          </a:prstGeom>
          <a:noFill/>
        </p:spPr>
        <p:txBody>
          <a:bodyPr vert="horz" wrap="square" lIns="0" tIns="0" rIns="0" bIns="0" rtlCol="0" anchor="ctr" anchorCtr="0">
            <a:spAutoFit/>
          </a:bodyPr>
          <a:lstStyle/>
          <a:p>
            <a:r>
              <a:rPr lang="en-AU" sz="1000" spc="-3">
                <a:solidFill>
                  <a:schemeClr val="dk2"/>
                </a:solidFill>
                <a:latin typeface="Calibri" panose="020F0502020204030204" pitchFamily="34" charset="0"/>
              </a:rPr>
              <a:t>Dec 14 - Jan 1</a:t>
            </a:r>
          </a:p>
        </p:txBody>
      </p:sp>
      <p:cxnSp>
        <p:nvCxnSpPr>
          <p:cNvPr id="21" name="OTLSHAPE_TB_00000000000000000000000000000000_Separator1">
            <a:extLst>
              <a:ext uri="{FF2B5EF4-FFF2-40B4-BE49-F238E27FC236}">
                <a16:creationId xmlns:a16="http://schemas.microsoft.com/office/drawing/2014/main" id="{965C2256-2A9C-4DC6-914A-3D3DA68B8965}"/>
              </a:ext>
            </a:extLst>
          </p:cNvPr>
          <p:cNvCxnSpPr/>
          <p:nvPr>
            <p:custDataLst>
              <p:tags r:id="rId171"/>
            </p:custDataLst>
          </p:nvPr>
        </p:nvCxnSpPr>
        <p:spPr>
          <a:xfrm>
            <a:off x="2266081" y="1146175"/>
            <a:ext cx="0" cy="203200"/>
          </a:xfrm>
          <a:prstGeom prst="line">
            <a:avLst/>
          </a:prstGeom>
          <a:ln w="9525"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OTLSHAPE_TB_00000000000000000000000000000000_Separator2">
            <a:extLst>
              <a:ext uri="{FF2B5EF4-FFF2-40B4-BE49-F238E27FC236}">
                <a16:creationId xmlns:a16="http://schemas.microsoft.com/office/drawing/2014/main" id="{B9902DEB-D6F0-438B-AEFF-660DB537B975}"/>
              </a:ext>
            </a:extLst>
          </p:cNvPr>
          <p:cNvCxnSpPr/>
          <p:nvPr>
            <p:custDataLst>
              <p:tags r:id="rId172"/>
            </p:custDataLst>
          </p:nvPr>
        </p:nvCxnSpPr>
        <p:spPr>
          <a:xfrm>
            <a:off x="3107292" y="1146175"/>
            <a:ext cx="0" cy="203200"/>
          </a:xfrm>
          <a:prstGeom prst="line">
            <a:avLst/>
          </a:prstGeom>
          <a:ln w="9525"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OTLSHAPE_TB_00000000000000000000000000000000_Separator3">
            <a:extLst>
              <a:ext uri="{FF2B5EF4-FFF2-40B4-BE49-F238E27FC236}">
                <a16:creationId xmlns:a16="http://schemas.microsoft.com/office/drawing/2014/main" id="{3F9984A3-2899-426D-B2E4-10FE92CF1F88}"/>
              </a:ext>
            </a:extLst>
          </p:cNvPr>
          <p:cNvCxnSpPr/>
          <p:nvPr>
            <p:custDataLst>
              <p:tags r:id="rId173"/>
            </p:custDataLst>
          </p:nvPr>
        </p:nvCxnSpPr>
        <p:spPr>
          <a:xfrm>
            <a:off x="3976542" y="1146175"/>
            <a:ext cx="0" cy="203200"/>
          </a:xfrm>
          <a:prstGeom prst="line">
            <a:avLst/>
          </a:prstGeom>
          <a:ln w="9525"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OTLSHAPE_TB_00000000000000000000000000000000_Separator4">
            <a:extLst>
              <a:ext uri="{FF2B5EF4-FFF2-40B4-BE49-F238E27FC236}">
                <a16:creationId xmlns:a16="http://schemas.microsoft.com/office/drawing/2014/main" id="{314C3C65-3C1D-424B-8091-D7B0774735A9}"/>
              </a:ext>
            </a:extLst>
          </p:cNvPr>
          <p:cNvCxnSpPr/>
          <p:nvPr>
            <p:custDataLst>
              <p:tags r:id="rId174"/>
            </p:custDataLst>
          </p:nvPr>
        </p:nvCxnSpPr>
        <p:spPr>
          <a:xfrm>
            <a:off x="4817753" y="1146175"/>
            <a:ext cx="0" cy="203200"/>
          </a:xfrm>
          <a:prstGeom prst="line">
            <a:avLst/>
          </a:prstGeom>
          <a:ln w="9525"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OTLSHAPE_TB_00000000000000000000000000000000_Separator5">
            <a:extLst>
              <a:ext uri="{FF2B5EF4-FFF2-40B4-BE49-F238E27FC236}">
                <a16:creationId xmlns:a16="http://schemas.microsoft.com/office/drawing/2014/main" id="{01BC1230-3401-41A4-AFDD-24660A38E75B}"/>
              </a:ext>
            </a:extLst>
          </p:cNvPr>
          <p:cNvCxnSpPr/>
          <p:nvPr>
            <p:custDataLst>
              <p:tags r:id="rId175"/>
            </p:custDataLst>
          </p:nvPr>
        </p:nvCxnSpPr>
        <p:spPr>
          <a:xfrm>
            <a:off x="5687003" y="1146175"/>
            <a:ext cx="0" cy="203200"/>
          </a:xfrm>
          <a:prstGeom prst="line">
            <a:avLst/>
          </a:prstGeom>
          <a:ln w="9525"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OTLSHAPE_TB_00000000000000000000000000000000_Separator6">
            <a:extLst>
              <a:ext uri="{FF2B5EF4-FFF2-40B4-BE49-F238E27FC236}">
                <a16:creationId xmlns:a16="http://schemas.microsoft.com/office/drawing/2014/main" id="{778AA346-56CF-4A31-8A68-6DC413A2ADD4}"/>
              </a:ext>
            </a:extLst>
          </p:cNvPr>
          <p:cNvCxnSpPr/>
          <p:nvPr>
            <p:custDataLst>
              <p:tags r:id="rId176"/>
            </p:custDataLst>
          </p:nvPr>
        </p:nvCxnSpPr>
        <p:spPr>
          <a:xfrm>
            <a:off x="6556254" y="1146175"/>
            <a:ext cx="0" cy="203200"/>
          </a:xfrm>
          <a:prstGeom prst="line">
            <a:avLst/>
          </a:prstGeom>
          <a:ln w="9525"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OTLSHAPE_TB_00000000000000000000000000000000_Separator7">
            <a:extLst>
              <a:ext uri="{FF2B5EF4-FFF2-40B4-BE49-F238E27FC236}">
                <a16:creationId xmlns:a16="http://schemas.microsoft.com/office/drawing/2014/main" id="{F9FF40B6-1FD6-4745-A002-288DE104011E}"/>
              </a:ext>
            </a:extLst>
          </p:cNvPr>
          <p:cNvCxnSpPr/>
          <p:nvPr>
            <p:custDataLst>
              <p:tags r:id="rId177"/>
            </p:custDataLst>
          </p:nvPr>
        </p:nvCxnSpPr>
        <p:spPr>
          <a:xfrm>
            <a:off x="7341384" y="1146175"/>
            <a:ext cx="0" cy="203200"/>
          </a:xfrm>
          <a:prstGeom prst="line">
            <a:avLst/>
          </a:prstGeom>
          <a:ln w="9525"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7" name="OTLSHAPE_M_0e28a84cf6724e00a089964be0d24b0c_Shape">
            <a:extLst>
              <a:ext uri="{FF2B5EF4-FFF2-40B4-BE49-F238E27FC236}">
                <a16:creationId xmlns:a16="http://schemas.microsoft.com/office/drawing/2014/main" id="{55F0F813-077D-4422-A395-140771540CCE}"/>
              </a:ext>
            </a:extLst>
          </p:cNvPr>
          <p:cNvSpPr/>
          <p:nvPr>
            <p:custDataLst>
              <p:tags r:id="rId178"/>
            </p:custDataLst>
          </p:nvPr>
        </p:nvSpPr>
        <p:spPr>
          <a:xfrm>
            <a:off x="7544532" y="278765"/>
            <a:ext cx="165100" cy="165100"/>
          </a:xfrm>
          <a:prstGeom prst="wave">
            <a:avLst/>
          </a:prstGeom>
          <a:solidFill>
            <a:srgbClr val="B20E1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313" name="OTLSHAPE_M_b1a2b0ad50c54f3db24b3aab69d68fc5_Shape">
            <a:extLst>
              <a:ext uri="{FF2B5EF4-FFF2-40B4-BE49-F238E27FC236}">
                <a16:creationId xmlns:a16="http://schemas.microsoft.com/office/drawing/2014/main" id="{4123B693-5F3F-42F0-8CA0-FFCE4A1DF8FA}"/>
              </a:ext>
            </a:extLst>
          </p:cNvPr>
          <p:cNvSpPr/>
          <p:nvPr>
            <p:custDataLst>
              <p:tags r:id="rId179"/>
            </p:custDataLst>
          </p:nvPr>
        </p:nvSpPr>
        <p:spPr>
          <a:xfrm>
            <a:off x="7956114" y="866775"/>
            <a:ext cx="228600" cy="254000"/>
          </a:xfrm>
          <a:prstGeom prst="star5">
            <a:avLst>
              <a:gd name="adj" fmla="val 25000"/>
              <a:gd name="hf" fmla="val 105146"/>
              <a:gd name="vf" fmla="val 110557"/>
            </a:avLst>
          </a:prstGeom>
          <a:solidFill>
            <a:srgbClr val="70AD47"/>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353" name="OTLSHAPE_M_b8c603269952439b977cb103e5f76bdb_Shape">
            <a:extLst>
              <a:ext uri="{FF2B5EF4-FFF2-40B4-BE49-F238E27FC236}">
                <a16:creationId xmlns:a16="http://schemas.microsoft.com/office/drawing/2014/main" id="{99090ED3-989A-468E-9609-04EB0ED41EE6}"/>
              </a:ext>
            </a:extLst>
          </p:cNvPr>
          <p:cNvSpPr/>
          <p:nvPr>
            <p:custDataLst>
              <p:tags r:id="rId180"/>
            </p:custDataLst>
          </p:nvPr>
        </p:nvSpPr>
        <p:spPr>
          <a:xfrm>
            <a:off x="5292281" y="866775"/>
            <a:ext cx="228600" cy="254000"/>
          </a:xfrm>
          <a:prstGeom prst="star5">
            <a:avLst>
              <a:gd name="adj" fmla="val 25000"/>
              <a:gd name="hf" fmla="val 105146"/>
              <a:gd name="vf" fmla="val 110557"/>
            </a:avLst>
          </a:prstGeom>
          <a:solidFill>
            <a:srgbClr val="ED7D3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48" name="OTLSHAPE_M_7649273c507146859e6883433d506eea_Shape">
            <a:extLst>
              <a:ext uri="{FF2B5EF4-FFF2-40B4-BE49-F238E27FC236}">
                <a16:creationId xmlns:a16="http://schemas.microsoft.com/office/drawing/2014/main" id="{024B4113-3E73-4AAC-81E8-8A9C873C9C87}"/>
              </a:ext>
            </a:extLst>
          </p:cNvPr>
          <p:cNvSpPr/>
          <p:nvPr>
            <p:custDataLst>
              <p:tags r:id="rId181"/>
            </p:custDataLst>
          </p:nvPr>
        </p:nvSpPr>
        <p:spPr>
          <a:xfrm>
            <a:off x="2740609" y="866775"/>
            <a:ext cx="228600" cy="254000"/>
          </a:xfrm>
          <a:prstGeom prst="star5">
            <a:avLst>
              <a:gd name="adj" fmla="val 25000"/>
              <a:gd name="hf" fmla="val 105146"/>
              <a:gd name="vf" fmla="val 110557"/>
            </a:avLst>
          </a:prstGeom>
          <a:solidFill>
            <a:srgbClr val="70AD47"/>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66" name="OTLSHAPE_M_177188707e544830b8ce884a45b14d3a_Shape">
            <a:extLst>
              <a:ext uri="{FF2B5EF4-FFF2-40B4-BE49-F238E27FC236}">
                <a16:creationId xmlns:a16="http://schemas.microsoft.com/office/drawing/2014/main" id="{C8D71063-B13A-4EA1-BDB0-2BAB08DBF170}"/>
              </a:ext>
            </a:extLst>
          </p:cNvPr>
          <p:cNvSpPr/>
          <p:nvPr>
            <p:custDataLst>
              <p:tags r:id="rId182"/>
            </p:custDataLst>
          </p:nvPr>
        </p:nvSpPr>
        <p:spPr>
          <a:xfrm>
            <a:off x="1366632" y="866775"/>
            <a:ext cx="228600" cy="254000"/>
          </a:xfrm>
          <a:prstGeom prst="star5">
            <a:avLst>
              <a:gd name="adj" fmla="val 25000"/>
              <a:gd name="hf" fmla="val 105146"/>
              <a:gd name="vf" fmla="val 110557"/>
            </a:avLst>
          </a:prstGeom>
          <a:solidFill>
            <a:srgbClr val="FEBA0A"/>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27" name="OTLSHAPE_M_177188707e544830b8ce884a45b14d3a_Title">
            <a:extLst>
              <a:ext uri="{FF2B5EF4-FFF2-40B4-BE49-F238E27FC236}">
                <a16:creationId xmlns:a16="http://schemas.microsoft.com/office/drawing/2014/main" id="{CBBC6D65-A8B3-4524-B847-43F6B4133D8F}"/>
              </a:ext>
            </a:extLst>
          </p:cNvPr>
          <p:cNvSpPr txBox="1"/>
          <p:nvPr>
            <p:custDataLst>
              <p:tags r:id="rId183"/>
            </p:custDataLst>
          </p:nvPr>
        </p:nvSpPr>
        <p:spPr>
          <a:xfrm>
            <a:off x="1280082" y="580602"/>
            <a:ext cx="393700" cy="124037"/>
          </a:xfrm>
          <a:prstGeom prst="rect">
            <a:avLst/>
          </a:prstGeom>
          <a:noFill/>
        </p:spPr>
        <p:txBody>
          <a:bodyPr vert="horz" wrap="square" lIns="0" tIns="0" rIns="0" bIns="0" rtlCol="0" anchor="ctr" anchorCtr="0">
            <a:spAutoFit/>
          </a:bodyPr>
          <a:lstStyle/>
          <a:p>
            <a:pPr algn="ctr"/>
            <a:r>
              <a:rPr lang="en-US" sz="800" dirty="0">
                <a:solidFill>
                  <a:schemeClr val="dk1"/>
                </a:solidFill>
                <a:latin typeface="Calibri" panose="020F0502020204030204" pitchFamily="34" charset="0"/>
              </a:rPr>
              <a:t>Inception</a:t>
            </a:r>
          </a:p>
        </p:txBody>
      </p:sp>
      <p:sp>
        <p:nvSpPr>
          <p:cNvPr id="28" name="OTLSHAPE_M_177188707e544830b8ce884a45b14d3a_Date">
            <a:extLst>
              <a:ext uri="{FF2B5EF4-FFF2-40B4-BE49-F238E27FC236}">
                <a16:creationId xmlns:a16="http://schemas.microsoft.com/office/drawing/2014/main" id="{17786FFE-AE5C-416C-ACE3-1C3C94E18E99}"/>
              </a:ext>
            </a:extLst>
          </p:cNvPr>
          <p:cNvSpPr txBox="1"/>
          <p:nvPr>
            <p:custDataLst>
              <p:tags r:id="rId184"/>
            </p:custDataLst>
          </p:nvPr>
        </p:nvSpPr>
        <p:spPr>
          <a:xfrm>
            <a:off x="1167200" y="717338"/>
            <a:ext cx="622300" cy="124037"/>
          </a:xfrm>
          <a:prstGeom prst="rect">
            <a:avLst/>
          </a:prstGeom>
          <a:noFill/>
        </p:spPr>
        <p:txBody>
          <a:bodyPr vert="horz" wrap="square" lIns="0" tIns="0" rIns="0" bIns="0" rtlCol="0" anchor="ctr" anchorCtr="0">
            <a:spAutoFit/>
          </a:bodyPr>
          <a:lstStyle/>
          <a:p>
            <a:pPr algn="ctr"/>
            <a:r>
              <a:rPr lang="en-US" sz="800" dirty="0">
                <a:solidFill>
                  <a:schemeClr val="dk2"/>
                </a:solidFill>
                <a:latin typeface="Calibri" panose="020F0502020204030204" pitchFamily="34" charset="0"/>
              </a:rPr>
              <a:t>August 3, 2020</a:t>
            </a:r>
          </a:p>
        </p:txBody>
      </p:sp>
      <p:sp>
        <p:nvSpPr>
          <p:cNvPr id="33" name="OTLSHAPE_M_0e28a84cf6724e00a089964be0d24b0c_Title">
            <a:extLst>
              <a:ext uri="{FF2B5EF4-FFF2-40B4-BE49-F238E27FC236}">
                <a16:creationId xmlns:a16="http://schemas.microsoft.com/office/drawing/2014/main" id="{34FD21FB-BEB7-458C-ACAB-085275788A73}"/>
              </a:ext>
            </a:extLst>
          </p:cNvPr>
          <p:cNvSpPr txBox="1"/>
          <p:nvPr>
            <p:custDataLst>
              <p:tags r:id="rId185"/>
            </p:custDataLst>
          </p:nvPr>
        </p:nvSpPr>
        <p:spPr>
          <a:xfrm>
            <a:off x="7738207" y="205528"/>
            <a:ext cx="711200" cy="124037"/>
          </a:xfrm>
          <a:prstGeom prst="rect">
            <a:avLst/>
          </a:prstGeom>
          <a:noFill/>
        </p:spPr>
        <p:txBody>
          <a:bodyPr vert="horz" wrap="square" lIns="0" tIns="0" rIns="0" bIns="0" rtlCol="0" anchor="ctr" anchorCtr="0">
            <a:spAutoFit/>
          </a:bodyPr>
          <a:lstStyle/>
          <a:p>
            <a:r>
              <a:rPr lang="en-US" sz="800" spc="-4">
                <a:solidFill>
                  <a:schemeClr val="dk1"/>
                </a:solidFill>
                <a:latin typeface="Calibri" panose="020F0502020204030204" pitchFamily="34" charset="0"/>
              </a:rPr>
              <a:t>Executive Review</a:t>
            </a:r>
          </a:p>
        </p:txBody>
      </p:sp>
      <p:sp>
        <p:nvSpPr>
          <p:cNvPr id="34" name="OTLSHAPE_M_0e28a84cf6724e00a089964be0d24b0c_Date">
            <a:extLst>
              <a:ext uri="{FF2B5EF4-FFF2-40B4-BE49-F238E27FC236}">
                <a16:creationId xmlns:a16="http://schemas.microsoft.com/office/drawing/2014/main" id="{A919D72E-D9B6-4AE1-B474-FA492DC3B6CC}"/>
              </a:ext>
            </a:extLst>
          </p:cNvPr>
          <p:cNvSpPr txBox="1"/>
          <p:nvPr>
            <p:custDataLst>
              <p:tags r:id="rId186"/>
            </p:custDataLst>
          </p:nvPr>
        </p:nvSpPr>
        <p:spPr>
          <a:xfrm>
            <a:off x="7738207" y="342265"/>
            <a:ext cx="596900" cy="124037"/>
          </a:xfrm>
          <a:prstGeom prst="rect">
            <a:avLst/>
          </a:prstGeom>
          <a:noFill/>
        </p:spPr>
        <p:txBody>
          <a:bodyPr vert="horz" wrap="square" lIns="0" tIns="0" rIns="0" bIns="0" rtlCol="0" anchor="ctr" anchorCtr="0">
            <a:spAutoFit/>
          </a:bodyPr>
          <a:lstStyle/>
          <a:p>
            <a:r>
              <a:rPr lang="en-US" sz="800">
                <a:solidFill>
                  <a:schemeClr val="dk2"/>
                </a:solidFill>
                <a:latin typeface="Calibri" panose="020F0502020204030204" pitchFamily="34" charset="0"/>
              </a:rPr>
              <a:t>March 6, 2021</a:t>
            </a:r>
          </a:p>
        </p:txBody>
      </p:sp>
      <p:sp>
        <p:nvSpPr>
          <p:cNvPr id="42" name="OTLSHAPE_M_b1a2b0ad50c54f3db24b3aab69d68fc5_Title">
            <a:extLst>
              <a:ext uri="{FF2B5EF4-FFF2-40B4-BE49-F238E27FC236}">
                <a16:creationId xmlns:a16="http://schemas.microsoft.com/office/drawing/2014/main" id="{C01118E8-E683-40F6-8336-7475C61D9952}"/>
              </a:ext>
            </a:extLst>
          </p:cNvPr>
          <p:cNvSpPr txBox="1"/>
          <p:nvPr>
            <p:custDataLst>
              <p:tags r:id="rId187"/>
            </p:custDataLst>
          </p:nvPr>
        </p:nvSpPr>
        <p:spPr>
          <a:xfrm>
            <a:off x="7751051" y="580602"/>
            <a:ext cx="647700" cy="124037"/>
          </a:xfrm>
          <a:prstGeom prst="rect">
            <a:avLst/>
          </a:prstGeom>
          <a:noFill/>
        </p:spPr>
        <p:txBody>
          <a:bodyPr vert="horz" wrap="square" lIns="0" tIns="0" rIns="0" bIns="0" rtlCol="0" anchor="ctr" anchorCtr="0">
            <a:spAutoFit/>
          </a:bodyPr>
          <a:lstStyle/>
          <a:p>
            <a:pPr algn="ctr"/>
            <a:r>
              <a:rPr lang="en-US" sz="800" spc="-2" dirty="0">
                <a:solidFill>
                  <a:schemeClr val="dk1"/>
                </a:solidFill>
                <a:latin typeface="Calibri" panose="020F0502020204030204" pitchFamily="34" charset="0"/>
              </a:rPr>
              <a:t>Release to BAU</a:t>
            </a:r>
          </a:p>
        </p:txBody>
      </p:sp>
      <p:sp>
        <p:nvSpPr>
          <p:cNvPr id="43" name="OTLSHAPE_M_b1a2b0ad50c54f3db24b3aab69d68fc5_Date">
            <a:extLst>
              <a:ext uri="{FF2B5EF4-FFF2-40B4-BE49-F238E27FC236}">
                <a16:creationId xmlns:a16="http://schemas.microsoft.com/office/drawing/2014/main" id="{D348E596-E7A6-4312-854E-7890AE41F8F8}"/>
              </a:ext>
            </a:extLst>
          </p:cNvPr>
          <p:cNvSpPr txBox="1"/>
          <p:nvPr>
            <p:custDataLst>
              <p:tags r:id="rId188"/>
            </p:custDataLst>
          </p:nvPr>
        </p:nvSpPr>
        <p:spPr>
          <a:xfrm>
            <a:off x="7741039" y="717338"/>
            <a:ext cx="647700" cy="124037"/>
          </a:xfrm>
          <a:prstGeom prst="rect">
            <a:avLst/>
          </a:prstGeom>
          <a:noFill/>
        </p:spPr>
        <p:txBody>
          <a:bodyPr vert="horz" wrap="square" lIns="0" tIns="0" rIns="0" bIns="0" rtlCol="0" anchor="ctr" anchorCtr="0">
            <a:spAutoFit/>
          </a:bodyPr>
          <a:lstStyle/>
          <a:p>
            <a:pPr algn="ctr"/>
            <a:r>
              <a:rPr lang="en-US" sz="800">
                <a:solidFill>
                  <a:schemeClr val="dk2"/>
                </a:solidFill>
                <a:latin typeface="Calibri" panose="020F0502020204030204" pitchFamily="34" charset="0"/>
              </a:rPr>
              <a:t>March 26, 2021</a:t>
            </a:r>
          </a:p>
        </p:txBody>
      </p:sp>
      <p:sp>
        <p:nvSpPr>
          <p:cNvPr id="351" name="OTLSHAPE_M_b8c603269952439b977cb103e5f76bdb_Title">
            <a:extLst>
              <a:ext uri="{FF2B5EF4-FFF2-40B4-BE49-F238E27FC236}">
                <a16:creationId xmlns:a16="http://schemas.microsoft.com/office/drawing/2014/main" id="{7DB2B1C9-B4ED-47E3-8A98-F045AA7E12D0}"/>
              </a:ext>
            </a:extLst>
          </p:cNvPr>
          <p:cNvSpPr txBox="1"/>
          <p:nvPr>
            <p:custDataLst>
              <p:tags r:id="rId189"/>
            </p:custDataLst>
          </p:nvPr>
        </p:nvSpPr>
        <p:spPr>
          <a:xfrm>
            <a:off x="5136981" y="580602"/>
            <a:ext cx="546100" cy="124037"/>
          </a:xfrm>
          <a:prstGeom prst="rect">
            <a:avLst/>
          </a:prstGeom>
          <a:noFill/>
        </p:spPr>
        <p:txBody>
          <a:bodyPr vert="horz" wrap="square" lIns="0" tIns="0" rIns="0" bIns="0" rtlCol="0" anchor="ctr" anchorCtr="0">
            <a:spAutoFit/>
          </a:bodyPr>
          <a:lstStyle/>
          <a:p>
            <a:pPr algn="ctr"/>
            <a:r>
              <a:rPr lang="en-US" sz="800" spc="-2">
                <a:solidFill>
                  <a:schemeClr val="dk1"/>
                </a:solidFill>
                <a:latin typeface="Calibri" panose="020F0502020204030204" pitchFamily="34" charset="0"/>
              </a:rPr>
              <a:t>Beta Release</a:t>
            </a:r>
          </a:p>
        </p:txBody>
      </p:sp>
      <p:sp>
        <p:nvSpPr>
          <p:cNvPr id="352" name="OTLSHAPE_M_b8c603269952439b977cb103e5f76bdb_Date">
            <a:extLst>
              <a:ext uri="{FF2B5EF4-FFF2-40B4-BE49-F238E27FC236}">
                <a16:creationId xmlns:a16="http://schemas.microsoft.com/office/drawing/2014/main" id="{2A548667-22A7-4074-8384-7C4D8E7FE178}"/>
              </a:ext>
            </a:extLst>
          </p:cNvPr>
          <p:cNvSpPr txBox="1"/>
          <p:nvPr>
            <p:custDataLst>
              <p:tags r:id="rId190"/>
            </p:custDataLst>
          </p:nvPr>
        </p:nvSpPr>
        <p:spPr>
          <a:xfrm>
            <a:off x="4996583" y="717338"/>
            <a:ext cx="812800" cy="124037"/>
          </a:xfrm>
          <a:prstGeom prst="rect">
            <a:avLst/>
          </a:prstGeom>
          <a:noFill/>
        </p:spPr>
        <p:txBody>
          <a:bodyPr vert="horz" wrap="square" lIns="0" tIns="0" rIns="0" bIns="0" rtlCol="0" anchor="ctr" anchorCtr="0">
            <a:spAutoFit/>
          </a:bodyPr>
          <a:lstStyle/>
          <a:p>
            <a:pPr algn="ctr"/>
            <a:r>
              <a:rPr lang="en-US" sz="800">
                <a:solidFill>
                  <a:schemeClr val="dk2"/>
                </a:solidFill>
                <a:latin typeface="Calibri" panose="020F0502020204030204" pitchFamily="34" charset="0"/>
              </a:rPr>
              <a:t>December 21, 2020</a:t>
            </a:r>
          </a:p>
        </p:txBody>
      </p:sp>
      <p:sp>
        <p:nvSpPr>
          <p:cNvPr id="40" name="OTLSHAPE_M_7649273c507146859e6883433d506eea_Title">
            <a:extLst>
              <a:ext uri="{FF2B5EF4-FFF2-40B4-BE49-F238E27FC236}">
                <a16:creationId xmlns:a16="http://schemas.microsoft.com/office/drawing/2014/main" id="{D1829DC8-8EBB-4902-8167-A83AF7064714}"/>
              </a:ext>
            </a:extLst>
          </p:cNvPr>
          <p:cNvSpPr txBox="1"/>
          <p:nvPr>
            <p:custDataLst>
              <p:tags r:id="rId191"/>
            </p:custDataLst>
          </p:nvPr>
        </p:nvSpPr>
        <p:spPr>
          <a:xfrm>
            <a:off x="2536584" y="580602"/>
            <a:ext cx="647700" cy="124037"/>
          </a:xfrm>
          <a:prstGeom prst="rect">
            <a:avLst/>
          </a:prstGeom>
          <a:noFill/>
        </p:spPr>
        <p:txBody>
          <a:bodyPr vert="horz" wrap="square" lIns="0" tIns="0" rIns="0" bIns="0" rtlCol="0" anchor="ctr" anchorCtr="0">
            <a:spAutoFit/>
          </a:bodyPr>
          <a:lstStyle/>
          <a:p>
            <a:pPr algn="ctr"/>
            <a:r>
              <a:rPr lang="en-AU" sz="800" spc="-2" dirty="0">
                <a:solidFill>
                  <a:schemeClr val="dk1"/>
                </a:solidFill>
                <a:latin typeface="Calibri" panose="020F0502020204030204" pitchFamily="34" charset="0"/>
              </a:rPr>
              <a:t>Project Kick-off</a:t>
            </a:r>
          </a:p>
        </p:txBody>
      </p:sp>
      <p:sp>
        <p:nvSpPr>
          <p:cNvPr id="44" name="OTLSHAPE_M_7649273c507146859e6883433d506eea_Date">
            <a:extLst>
              <a:ext uri="{FF2B5EF4-FFF2-40B4-BE49-F238E27FC236}">
                <a16:creationId xmlns:a16="http://schemas.microsoft.com/office/drawing/2014/main" id="{4BF570EB-FD42-4401-BA8C-B9A0E560B5A1}"/>
              </a:ext>
            </a:extLst>
          </p:cNvPr>
          <p:cNvSpPr txBox="1"/>
          <p:nvPr>
            <p:custDataLst>
              <p:tags r:id="rId192"/>
            </p:custDataLst>
          </p:nvPr>
        </p:nvSpPr>
        <p:spPr>
          <a:xfrm>
            <a:off x="2431385" y="717338"/>
            <a:ext cx="838200" cy="124037"/>
          </a:xfrm>
          <a:prstGeom prst="rect">
            <a:avLst/>
          </a:prstGeom>
          <a:noFill/>
        </p:spPr>
        <p:txBody>
          <a:bodyPr vert="horz" wrap="square" lIns="0" tIns="0" rIns="0" bIns="0" rtlCol="0" anchor="ctr" anchorCtr="0">
            <a:spAutoFit/>
          </a:bodyPr>
          <a:lstStyle/>
          <a:p>
            <a:pPr algn="ctr"/>
            <a:r>
              <a:rPr lang="en-AU" sz="800" dirty="0">
                <a:solidFill>
                  <a:schemeClr val="dk2"/>
                </a:solidFill>
                <a:latin typeface="Calibri" panose="020F0502020204030204" pitchFamily="34" charset="0"/>
              </a:rPr>
              <a:t>September 21, 2020</a:t>
            </a:r>
          </a:p>
        </p:txBody>
      </p:sp>
      <p:sp>
        <p:nvSpPr>
          <p:cNvPr id="318" name="Title 1">
            <a:extLst>
              <a:ext uri="{FF2B5EF4-FFF2-40B4-BE49-F238E27FC236}">
                <a16:creationId xmlns:a16="http://schemas.microsoft.com/office/drawing/2014/main" id="{973CFD4B-3B2D-44F0-8164-859CA2ED8F76}"/>
              </a:ext>
            </a:extLst>
          </p:cNvPr>
          <p:cNvSpPr>
            <a:spLocks noGrp="1"/>
          </p:cNvSpPr>
          <p:nvPr/>
        </p:nvSpPr>
        <p:spPr>
          <a:xfrm>
            <a:off x="240869" y="108566"/>
            <a:ext cx="8472758" cy="311054"/>
          </a:xfrm>
          <a:prstGeom prst="rect">
            <a:avLst/>
          </a:prstGeom>
        </p:spPr>
        <p:txBody>
          <a:bodyPr vert="horz" lIns="68580" tIns="34290" rIns="68580" bIns="34290" rtlCol="0" anchor="b">
            <a:normAutofit fontScale="92500" lnSpcReduction="10000"/>
          </a:bodyPr>
          <a:lstStyle>
            <a:lvl1pPr algn="l" defTabSz="914400" rtl="0" eaLnBrk="1" latinLnBrk="0" hangingPunct="1">
              <a:spcBef>
                <a:spcPct val="0"/>
              </a:spcBef>
              <a:buNone/>
              <a:defRPr sz="3600" kern="1200">
                <a:solidFill>
                  <a:schemeClr val="bg1"/>
                </a:solidFill>
                <a:latin typeface="+mj-lt"/>
                <a:ea typeface="+mj-ea"/>
                <a:cs typeface="+mj-cs"/>
              </a:defRPr>
            </a:lvl1pPr>
          </a:lstStyle>
          <a:p>
            <a:r>
              <a:rPr lang="en-US" sz="1800" dirty="0">
                <a:solidFill>
                  <a:srgbClr val="DC4726"/>
                </a:solidFill>
                <a:latin typeface="+mn-lt"/>
              </a:rPr>
              <a:t>Indicative Timeline</a:t>
            </a:r>
          </a:p>
        </p:txBody>
      </p:sp>
    </p:spTree>
    <p:custDataLst>
      <p:tags r:id="rId1"/>
    </p:custDataLst>
    <p:extLst>
      <p:ext uri="{BB962C8B-B14F-4D97-AF65-F5344CB8AC3E}">
        <p14:creationId xmlns:p14="http://schemas.microsoft.com/office/powerpoint/2010/main" val="16748142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5E67B-E16E-1E4B-838A-5EA277522107}"/>
              </a:ext>
            </a:extLst>
          </p:cNvPr>
          <p:cNvSpPr>
            <a:spLocks noGrp="1"/>
          </p:cNvSpPr>
          <p:nvPr>
            <p:ph type="ctrTitle"/>
          </p:nvPr>
        </p:nvSpPr>
        <p:spPr>
          <a:xfrm>
            <a:off x="558266" y="2215600"/>
            <a:ext cx="3943350" cy="917665"/>
          </a:xfrm>
        </p:spPr>
        <p:txBody>
          <a:bodyPr/>
          <a:lstStyle/>
          <a:p>
            <a:r>
              <a:rPr lang="en-AU" dirty="0"/>
              <a:t>Sam Kick-Off</a:t>
            </a:r>
            <a:endParaRPr lang="en-NO" dirty="0"/>
          </a:p>
        </p:txBody>
      </p:sp>
      <p:pic>
        <p:nvPicPr>
          <p:cNvPr id="4" name="Picture 3">
            <a:extLst>
              <a:ext uri="{FF2B5EF4-FFF2-40B4-BE49-F238E27FC236}">
                <a16:creationId xmlns:a16="http://schemas.microsoft.com/office/drawing/2014/main" id="{C5FA488C-DF47-C041-A5FE-63C2129BA90F}"/>
              </a:ext>
            </a:extLst>
          </p:cNvPr>
          <p:cNvPicPr>
            <a:picLocks noChangeAspect="1"/>
          </p:cNvPicPr>
          <p:nvPr/>
        </p:nvPicPr>
        <p:blipFill>
          <a:blip r:embed="rId2"/>
          <a:stretch>
            <a:fillRect/>
          </a:stretch>
        </p:blipFill>
        <p:spPr>
          <a:xfrm>
            <a:off x="4572000" y="0"/>
            <a:ext cx="5143500" cy="5143500"/>
          </a:xfrm>
          <a:prstGeom prst="rect">
            <a:avLst/>
          </a:prstGeom>
        </p:spPr>
      </p:pic>
    </p:spTree>
    <p:extLst>
      <p:ext uri="{BB962C8B-B14F-4D97-AF65-F5344CB8AC3E}">
        <p14:creationId xmlns:p14="http://schemas.microsoft.com/office/powerpoint/2010/main" val="24348173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 name="object 293"/>
          <p:cNvSpPr/>
          <p:nvPr/>
        </p:nvSpPr>
        <p:spPr>
          <a:xfrm>
            <a:off x="0" y="0"/>
            <a:ext cx="9144000" cy="5143500"/>
          </a:xfrm>
          <a:custGeom>
            <a:avLst/>
            <a:gdLst/>
            <a:ahLst/>
            <a:cxnLst/>
            <a:rect l="l" t="t" r="r" b="b"/>
            <a:pathLst>
              <a:path w="9144000" h="5143500">
                <a:moveTo>
                  <a:pt x="0" y="5143500"/>
                </a:moveTo>
                <a:lnTo>
                  <a:pt x="0" y="0"/>
                </a:lnTo>
                <a:lnTo>
                  <a:pt x="9144000" y="0"/>
                </a:lnTo>
                <a:lnTo>
                  <a:pt x="9144000" y="5143500"/>
                </a:lnTo>
                <a:lnTo>
                  <a:pt x="0" y="5143500"/>
                </a:lnTo>
                <a:close/>
              </a:path>
            </a:pathLst>
          </a:custGeom>
          <a:solidFill>
            <a:srgbClr val="FFFFFF"/>
          </a:solidFill>
        </p:spPr>
        <p:txBody>
          <a:bodyPr wrap="square" lIns="0" tIns="0" rIns="0" bIns="0" rtlCol="0">
            <a:noAutofit/>
          </a:bodyPr>
          <a:lstStyle/>
          <a:p>
            <a:endParaRPr/>
          </a:p>
        </p:txBody>
      </p:sp>
      <p:pic>
        <p:nvPicPr>
          <p:cNvPr id="323"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48" y="4759452"/>
            <a:ext cx="1165860" cy="384048"/>
          </a:xfrm>
          <a:prstGeom prst="rect">
            <a:avLst/>
          </a:prstGeom>
        </p:spPr>
      </p:pic>
      <p:sp>
        <p:nvSpPr>
          <p:cNvPr id="3" name="text 1"/>
          <p:cNvSpPr txBox="1"/>
          <p:nvPr/>
        </p:nvSpPr>
        <p:spPr>
          <a:xfrm>
            <a:off x="593478" y="676308"/>
            <a:ext cx="837058" cy="396281"/>
          </a:xfrm>
          <a:prstGeom prst="rect">
            <a:avLst/>
          </a:prstGeom>
        </p:spPr>
        <p:txBody>
          <a:bodyPr vert="horz" wrap="none" lIns="0" tIns="0" rIns="0" bIns="0" rtlCol="0">
            <a:spAutoFit/>
          </a:bodyPr>
          <a:lstStyle/>
          <a:p>
            <a:pPr marL="0">
              <a:lnSpc>
                <a:spcPct val="100000"/>
              </a:lnSpc>
            </a:pPr>
            <a:r>
              <a:rPr sz="2800" spc="10">
                <a:solidFill>
                  <a:srgbClr val="094E5D"/>
                </a:solidFill>
                <a:latin typeface="Arial"/>
                <a:cs typeface="Arial"/>
              </a:rPr>
              <a:t>Q&amp;A</a:t>
            </a:r>
            <a:endParaRPr sz="2800">
              <a:latin typeface="Arial"/>
              <a:cs typeface="Arial"/>
            </a:endParaRPr>
          </a:p>
        </p:txBody>
      </p:sp>
      <p:pic>
        <p:nvPicPr>
          <p:cNvPr id="6" name="Picture Placeholder 5">
            <a:extLst>
              <a:ext uri="{FF2B5EF4-FFF2-40B4-BE49-F238E27FC236}">
                <a16:creationId xmlns:a16="http://schemas.microsoft.com/office/drawing/2014/main" id="{BD4ADC11-3543-4DC3-BB8A-9E5C2095433B}"/>
              </a:ext>
            </a:extLst>
          </p:cNvPr>
          <p:cNvPicPr>
            <a:picLocks noChangeAspect="1"/>
          </p:cNvPicPr>
          <p:nvPr/>
        </p:nvPicPr>
        <p:blipFill>
          <a:blip r:embed="rId3"/>
          <a:srcRect l="22096" r="22096"/>
          <a:stretch>
            <a:fillRect/>
          </a:stretch>
        </p:blipFill>
        <p:spPr>
          <a:xfrm>
            <a:off x="4561452" y="0"/>
            <a:ext cx="4572000" cy="5143500"/>
          </a:xfrm>
          <a:prstGeom prst="rect">
            <a:avLst/>
          </a:prstGeom>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 name="object 292"/>
          <p:cNvSpPr/>
          <p:nvPr/>
        </p:nvSpPr>
        <p:spPr>
          <a:xfrm>
            <a:off x="0" y="0"/>
            <a:ext cx="9144000" cy="5143500"/>
          </a:xfrm>
          <a:custGeom>
            <a:avLst/>
            <a:gdLst/>
            <a:ahLst/>
            <a:cxnLst/>
            <a:rect l="l" t="t" r="r" b="b"/>
            <a:pathLst>
              <a:path w="9144000" h="5143500">
                <a:moveTo>
                  <a:pt x="0" y="5143500"/>
                </a:moveTo>
                <a:lnTo>
                  <a:pt x="0" y="0"/>
                </a:lnTo>
                <a:lnTo>
                  <a:pt x="9144000" y="0"/>
                </a:lnTo>
                <a:lnTo>
                  <a:pt x="9144000" y="5143500"/>
                </a:lnTo>
                <a:lnTo>
                  <a:pt x="0" y="5143500"/>
                </a:lnTo>
                <a:close/>
              </a:path>
            </a:pathLst>
          </a:custGeom>
          <a:solidFill>
            <a:srgbClr val="0A4F5C"/>
          </a:solidFill>
        </p:spPr>
        <p:txBody>
          <a:bodyPr wrap="square" lIns="0" tIns="0" rIns="0" bIns="0" rtlCol="0">
            <a:noAutofit/>
          </a:bodyPr>
          <a:lstStyle/>
          <a:p>
            <a:endParaRPr/>
          </a:p>
        </p:txBody>
      </p:sp>
      <p:pic>
        <p:nvPicPr>
          <p:cNvPr id="314"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0718" y="1296519"/>
            <a:ext cx="886917" cy="684968"/>
          </a:xfrm>
          <a:prstGeom prst="rect">
            <a:avLst/>
          </a:prstGeom>
        </p:spPr>
      </p:pic>
      <p:pic>
        <p:nvPicPr>
          <p:cNvPr id="315"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4447" y="1327988"/>
            <a:ext cx="886917" cy="684967"/>
          </a:xfrm>
          <a:prstGeom prst="rect">
            <a:avLst/>
          </a:prstGeom>
        </p:spPr>
      </p:pic>
      <p:pic>
        <p:nvPicPr>
          <p:cNvPr id="316"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34811" y="1575317"/>
            <a:ext cx="304011" cy="405187"/>
          </a:xfrm>
          <a:prstGeom prst="rect">
            <a:avLst/>
          </a:prstGeom>
        </p:spPr>
      </p:pic>
      <p:pic>
        <p:nvPicPr>
          <p:cNvPr id="317"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67234" y="1428647"/>
            <a:ext cx="392248" cy="452182"/>
          </a:xfrm>
          <a:prstGeom prst="rect">
            <a:avLst/>
          </a:prstGeom>
        </p:spPr>
      </p:pic>
      <p:pic>
        <p:nvPicPr>
          <p:cNvPr id="318"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99083" y="1568913"/>
            <a:ext cx="193226" cy="305514"/>
          </a:xfrm>
          <a:prstGeom prst="rect">
            <a:avLst/>
          </a:prstGeom>
        </p:spPr>
      </p:pic>
      <p:pic>
        <p:nvPicPr>
          <p:cNvPr id="319"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591051" y="1568915"/>
            <a:ext cx="313672" cy="311917"/>
          </a:xfrm>
          <a:prstGeom prst="rect">
            <a:avLst/>
          </a:prstGeom>
        </p:spPr>
      </p:pic>
      <p:pic>
        <p:nvPicPr>
          <p:cNvPr id="320" name="Image"/>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34571" y="1568914"/>
            <a:ext cx="314963" cy="311917"/>
          </a:xfrm>
          <a:prstGeom prst="rect">
            <a:avLst/>
          </a:prstGeom>
        </p:spPr>
      </p:pic>
      <p:pic>
        <p:nvPicPr>
          <p:cNvPr id="321" name="Image"/>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81152" y="1568912"/>
            <a:ext cx="277603" cy="305515"/>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bject 85"/>
          <p:cNvSpPr/>
          <p:nvPr/>
        </p:nvSpPr>
        <p:spPr>
          <a:xfrm>
            <a:off x="0" y="0"/>
            <a:ext cx="9144000" cy="5143500"/>
          </a:xfrm>
          <a:custGeom>
            <a:avLst/>
            <a:gdLst/>
            <a:ahLst/>
            <a:cxnLst/>
            <a:rect l="l" t="t" r="r" b="b"/>
            <a:pathLst>
              <a:path w="9144000" h="5143500">
                <a:moveTo>
                  <a:pt x="0" y="5143500"/>
                </a:moveTo>
                <a:lnTo>
                  <a:pt x="0" y="0"/>
                </a:lnTo>
                <a:lnTo>
                  <a:pt x="9144000" y="0"/>
                </a:lnTo>
                <a:lnTo>
                  <a:pt x="9144000" y="5143500"/>
                </a:lnTo>
                <a:lnTo>
                  <a:pt x="0" y="5143500"/>
                </a:lnTo>
                <a:close/>
              </a:path>
            </a:pathLst>
          </a:custGeom>
          <a:solidFill>
            <a:srgbClr val="FFFFFF"/>
          </a:solidFill>
        </p:spPr>
        <p:txBody>
          <a:bodyPr wrap="square" lIns="0" tIns="0" rIns="0" bIns="0" rtlCol="0">
            <a:noAutofit/>
          </a:bodyPr>
          <a:lstStyle/>
          <a:p>
            <a:endParaRPr/>
          </a:p>
        </p:txBody>
      </p:sp>
      <p:pic>
        <p:nvPicPr>
          <p:cNvPr id="134"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83652" y="4728972"/>
            <a:ext cx="1165860" cy="384048"/>
          </a:xfrm>
          <a:prstGeom prst="rect">
            <a:avLst/>
          </a:prstGeom>
        </p:spPr>
      </p:pic>
      <p:sp>
        <p:nvSpPr>
          <p:cNvPr id="3" name="text 1"/>
          <p:cNvSpPr txBox="1"/>
          <p:nvPr/>
        </p:nvSpPr>
        <p:spPr>
          <a:xfrm>
            <a:off x="570251" y="1333769"/>
            <a:ext cx="4909571" cy="2786917"/>
          </a:xfrm>
          <a:prstGeom prst="rect">
            <a:avLst/>
          </a:prstGeom>
        </p:spPr>
        <p:txBody>
          <a:bodyPr vert="horz" wrap="square" lIns="0" tIns="0" rIns="0" bIns="0" rtlCol="0">
            <a:spAutoFit/>
          </a:bodyPr>
          <a:lstStyle/>
          <a:p>
            <a:pPr marL="285750" indent="-285750">
              <a:lnSpc>
                <a:spcPct val="100000"/>
              </a:lnSpc>
              <a:buFont typeface="Arial" panose="020B0604020202020204" pitchFamily="34" charset="0"/>
              <a:buChar char="•"/>
            </a:pPr>
            <a:r>
              <a:rPr lang="en-US" sz="1510" spc="10" dirty="0">
                <a:solidFill>
                  <a:srgbClr val="094E5D"/>
                </a:solidFill>
                <a:latin typeface="Arial"/>
                <a:cs typeface="Arial"/>
              </a:rPr>
              <a:t>The slides here are arranged to walk us through the discussions we need to have at the outset of this project</a:t>
            </a:r>
          </a:p>
          <a:p>
            <a:pPr marL="285750" indent="-285750">
              <a:lnSpc>
                <a:spcPct val="100000"/>
              </a:lnSpc>
              <a:buFont typeface="Arial" panose="020B0604020202020204" pitchFamily="34" charset="0"/>
              <a:buChar char="•"/>
            </a:pPr>
            <a:endParaRPr lang="en-US" sz="1510" spc="10" dirty="0">
              <a:solidFill>
                <a:srgbClr val="094E5D"/>
              </a:solidFill>
              <a:latin typeface="Arial"/>
              <a:cs typeface="Arial"/>
            </a:endParaRPr>
          </a:p>
          <a:p>
            <a:pPr marL="285750" indent="-285750">
              <a:lnSpc>
                <a:spcPct val="100000"/>
              </a:lnSpc>
              <a:buFont typeface="Arial" panose="020B0604020202020204" pitchFamily="34" charset="0"/>
              <a:buChar char="•"/>
            </a:pPr>
            <a:r>
              <a:rPr lang="en-US" sz="1510" spc="10" dirty="0">
                <a:solidFill>
                  <a:srgbClr val="094E5D"/>
                </a:solidFill>
                <a:latin typeface="Arial"/>
                <a:cs typeface="Arial"/>
              </a:rPr>
              <a:t>Where we have pre-provided “answers” to key questions, we will use these slides to reconfirm, or as necessary update those starting positions</a:t>
            </a:r>
          </a:p>
          <a:p>
            <a:pPr marL="285750" indent="-285750">
              <a:lnSpc>
                <a:spcPct val="100000"/>
              </a:lnSpc>
              <a:buFont typeface="Arial" panose="020B0604020202020204" pitchFamily="34" charset="0"/>
              <a:buChar char="•"/>
            </a:pPr>
            <a:endParaRPr lang="en-US" sz="1510" spc="10" dirty="0">
              <a:solidFill>
                <a:srgbClr val="094E5D"/>
              </a:solidFill>
              <a:latin typeface="Arial"/>
              <a:cs typeface="Arial"/>
            </a:endParaRPr>
          </a:p>
          <a:p>
            <a:pPr marL="285750" indent="-285750">
              <a:lnSpc>
                <a:spcPct val="100000"/>
              </a:lnSpc>
              <a:buFont typeface="Arial" panose="020B0604020202020204" pitchFamily="34" charset="0"/>
              <a:buChar char="•"/>
            </a:pPr>
            <a:r>
              <a:rPr lang="en-US" sz="1510" spc="10" dirty="0">
                <a:solidFill>
                  <a:srgbClr val="094E5D"/>
                </a:solidFill>
                <a:latin typeface="Arial"/>
                <a:cs typeface="Arial"/>
              </a:rPr>
              <a:t>Some of the slides here will be more central to discussions in the Design and Project Management  Workshops</a:t>
            </a:r>
          </a:p>
          <a:p>
            <a:pPr marL="0">
              <a:lnSpc>
                <a:spcPct val="100000"/>
              </a:lnSpc>
            </a:pPr>
            <a:endParaRPr sz="1500" dirty="0">
              <a:latin typeface="Arial"/>
              <a:cs typeface="Arial"/>
            </a:endParaRPr>
          </a:p>
        </p:txBody>
      </p:sp>
      <p:sp>
        <p:nvSpPr>
          <p:cNvPr id="10" name="text 1"/>
          <p:cNvSpPr txBox="1"/>
          <p:nvPr/>
        </p:nvSpPr>
        <p:spPr>
          <a:xfrm>
            <a:off x="570251" y="358473"/>
            <a:ext cx="3746860" cy="430887"/>
          </a:xfrm>
          <a:prstGeom prst="rect">
            <a:avLst/>
          </a:prstGeom>
        </p:spPr>
        <p:txBody>
          <a:bodyPr vert="horz" wrap="none" lIns="0" tIns="0" rIns="0" bIns="0" rtlCol="0">
            <a:spAutoFit/>
          </a:bodyPr>
          <a:lstStyle/>
          <a:p>
            <a:pPr marL="0">
              <a:lnSpc>
                <a:spcPct val="100000"/>
              </a:lnSpc>
            </a:pPr>
            <a:r>
              <a:rPr lang="en-US" sz="2800" spc="10" dirty="0">
                <a:solidFill>
                  <a:srgbClr val="094E5D"/>
                </a:solidFill>
                <a:latin typeface="Arial"/>
                <a:cs typeface="Arial"/>
              </a:rPr>
              <a:t>about this slide deck …</a:t>
            </a:r>
            <a:endParaRPr sz="2800" dirty="0">
              <a:latin typeface="Arial"/>
              <a:cs typeface="Arial"/>
            </a:endParaRPr>
          </a:p>
        </p:txBody>
      </p:sp>
      <p:pic>
        <p:nvPicPr>
          <p:cNvPr id="13" name="Image">
            <a:extLst>
              <a:ext uri="{FF2B5EF4-FFF2-40B4-BE49-F238E27FC236}">
                <a16:creationId xmlns:a16="http://schemas.microsoft.com/office/drawing/2014/main" id="{A61AC657-184A-8B4D-9F54-87B2CB7E0F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3599" y="1004316"/>
            <a:ext cx="2947471" cy="3713988"/>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AF71D8B5-DA27-421E-B13A-DC93849EAF9F}"/>
              </a:ext>
            </a:extLst>
          </p:cNvPr>
          <p:cNvSpPr/>
          <p:nvPr/>
        </p:nvSpPr>
        <p:spPr>
          <a:xfrm>
            <a:off x="3398665" y="2189008"/>
            <a:ext cx="5120003" cy="2571250"/>
          </a:xfrm>
          <a:prstGeom prst="rect">
            <a:avLst/>
          </a:prstGeom>
          <a:solidFill>
            <a:srgbClr val="F3F3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23" name="Rectangle 22">
            <a:extLst>
              <a:ext uri="{FF2B5EF4-FFF2-40B4-BE49-F238E27FC236}">
                <a16:creationId xmlns:a16="http://schemas.microsoft.com/office/drawing/2014/main" id="{94D7E2A8-7BFD-42AC-A79A-768A14094527}"/>
              </a:ext>
            </a:extLst>
          </p:cNvPr>
          <p:cNvSpPr/>
          <p:nvPr/>
        </p:nvSpPr>
        <p:spPr>
          <a:xfrm>
            <a:off x="625332" y="2189007"/>
            <a:ext cx="2442427" cy="2571251"/>
          </a:xfrm>
          <a:prstGeom prst="rect">
            <a:avLst/>
          </a:prstGeom>
          <a:solidFill>
            <a:srgbClr val="F3F3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5" name="Text Placeholder 4">
            <a:extLst>
              <a:ext uri="{FF2B5EF4-FFF2-40B4-BE49-F238E27FC236}">
                <a16:creationId xmlns:a16="http://schemas.microsoft.com/office/drawing/2014/main" id="{F043D39A-1D06-4636-981A-F9BAB2E5CE89}"/>
              </a:ext>
            </a:extLst>
          </p:cNvPr>
          <p:cNvSpPr>
            <a:spLocks noGrp="1"/>
          </p:cNvSpPr>
          <p:nvPr>
            <p:ph type="body" sz="quarter" idx="13"/>
          </p:nvPr>
        </p:nvSpPr>
        <p:spPr/>
        <p:txBody>
          <a:bodyPr/>
          <a:lstStyle/>
          <a:p>
            <a:r>
              <a:rPr lang="en-US" dirty="0"/>
              <a:t>Introduction</a:t>
            </a:r>
          </a:p>
        </p:txBody>
      </p:sp>
      <p:sp>
        <p:nvSpPr>
          <p:cNvPr id="6" name="Content Placeholder 5">
            <a:extLst>
              <a:ext uri="{FF2B5EF4-FFF2-40B4-BE49-F238E27FC236}">
                <a16:creationId xmlns:a16="http://schemas.microsoft.com/office/drawing/2014/main" id="{75CB113A-67A0-4E6D-9076-FD1D3069273A}"/>
              </a:ext>
            </a:extLst>
          </p:cNvPr>
          <p:cNvSpPr>
            <a:spLocks noGrp="1"/>
          </p:cNvSpPr>
          <p:nvPr>
            <p:ph sz="quarter" idx="15"/>
          </p:nvPr>
        </p:nvSpPr>
        <p:spPr>
          <a:xfrm>
            <a:off x="547759" y="1392726"/>
            <a:ext cx="7918776" cy="675139"/>
          </a:xfrm>
        </p:spPr>
        <p:txBody>
          <a:bodyPr/>
          <a:lstStyle/>
          <a:p>
            <a:pPr marL="0" indent="0">
              <a:buNone/>
            </a:pPr>
            <a:r>
              <a:rPr lang="en-US" dirty="0">
                <a:solidFill>
                  <a:srgbClr val="064C5E"/>
                </a:solidFill>
                <a:latin typeface="Arial Nova Light" panose="020B0304020202020204" pitchFamily="34" charset="0"/>
                <a:ea typeface="Times New Roman" panose="02020603050405020304" pitchFamily="18" charset="0"/>
                <a:cs typeface="Arial"/>
              </a:rPr>
              <a:t>Let's go round the room and get everyone to introduce themselves, and hear what their keys goals are, and what SAM outcomes they want to achieve in this project …</a:t>
            </a:r>
          </a:p>
          <a:p>
            <a:pPr marL="0" indent="0">
              <a:buNone/>
            </a:pPr>
            <a:r>
              <a:rPr lang="en-US" dirty="0"/>
              <a:t> </a:t>
            </a:r>
          </a:p>
        </p:txBody>
      </p:sp>
      <p:sp>
        <p:nvSpPr>
          <p:cNvPr id="7" name="Title 6">
            <a:extLst>
              <a:ext uri="{FF2B5EF4-FFF2-40B4-BE49-F238E27FC236}">
                <a16:creationId xmlns:a16="http://schemas.microsoft.com/office/drawing/2014/main" id="{49E6242A-C5BD-4544-A25B-82F45D4D2B7C}"/>
              </a:ext>
            </a:extLst>
          </p:cNvPr>
          <p:cNvSpPr>
            <a:spLocks noGrp="1"/>
          </p:cNvSpPr>
          <p:nvPr>
            <p:ph type="title"/>
          </p:nvPr>
        </p:nvSpPr>
        <p:spPr/>
        <p:txBody>
          <a:bodyPr/>
          <a:lstStyle/>
          <a:p>
            <a:r>
              <a:rPr lang="en-US" sz="2500" dirty="0"/>
              <a:t>Stakeholders</a:t>
            </a:r>
          </a:p>
        </p:txBody>
      </p:sp>
      <p:sp>
        <p:nvSpPr>
          <p:cNvPr id="8" name="Text Placeholder 12">
            <a:extLst>
              <a:ext uri="{FF2B5EF4-FFF2-40B4-BE49-F238E27FC236}">
                <a16:creationId xmlns:a16="http://schemas.microsoft.com/office/drawing/2014/main" id="{27AB0FEA-9D58-400B-8A26-909D5A0DC896}"/>
              </a:ext>
            </a:extLst>
          </p:cNvPr>
          <p:cNvSpPr txBox="1">
            <a:spLocks/>
          </p:cNvSpPr>
          <p:nvPr/>
        </p:nvSpPr>
        <p:spPr>
          <a:xfrm>
            <a:off x="609318" y="2505154"/>
            <a:ext cx="2442427" cy="286554"/>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US" sz="1300" dirty="0">
                <a:solidFill>
                  <a:srgbClr val="FF6B4D"/>
                </a:solidFill>
              </a:rPr>
              <a:t>&lt; CUSTOMER &gt;</a:t>
            </a:r>
          </a:p>
        </p:txBody>
      </p:sp>
      <p:pic>
        <p:nvPicPr>
          <p:cNvPr id="9" name="Picture Placeholder 9">
            <a:extLst>
              <a:ext uri="{FF2B5EF4-FFF2-40B4-BE49-F238E27FC236}">
                <a16:creationId xmlns:a16="http://schemas.microsoft.com/office/drawing/2014/main" id="{1AB00DB9-3058-45B2-8C77-B59FDC2C4D8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92" r="192"/>
          <a:stretch>
            <a:fillRect/>
          </a:stretch>
        </p:blipFill>
        <p:spPr>
          <a:xfrm>
            <a:off x="8106535" y="209503"/>
            <a:ext cx="720000" cy="722711"/>
          </a:xfrm>
          <a:prstGeom prst="rect">
            <a:avLst/>
          </a:prstGeom>
        </p:spPr>
      </p:pic>
      <p:sp>
        <p:nvSpPr>
          <p:cNvPr id="14" name="Text Placeholder 18">
            <a:extLst>
              <a:ext uri="{FF2B5EF4-FFF2-40B4-BE49-F238E27FC236}">
                <a16:creationId xmlns:a16="http://schemas.microsoft.com/office/drawing/2014/main" id="{0A5CD845-C047-47B1-B798-D0D61076777B}"/>
              </a:ext>
            </a:extLst>
          </p:cNvPr>
          <p:cNvSpPr txBox="1">
            <a:spLocks/>
          </p:cNvSpPr>
          <p:nvPr/>
        </p:nvSpPr>
        <p:spPr>
          <a:xfrm>
            <a:off x="645940" y="2792621"/>
            <a:ext cx="2395503" cy="895595"/>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0000"/>
              </a:lnSpc>
              <a:spcBef>
                <a:spcPts val="600"/>
              </a:spcBef>
              <a:buNone/>
            </a:pPr>
            <a:r>
              <a:rPr lang="en-GB" sz="1200" b="1" dirty="0">
                <a:solidFill>
                  <a:srgbClr val="073B45"/>
                </a:solidFill>
              </a:rPr>
              <a:t>Sponsor:</a:t>
            </a:r>
            <a:r>
              <a:rPr lang="en-GB" sz="1200" dirty="0">
                <a:solidFill>
                  <a:srgbClr val="073B45"/>
                </a:solidFill>
              </a:rPr>
              <a:t>  tba</a:t>
            </a:r>
          </a:p>
          <a:p>
            <a:pPr marL="0" indent="0">
              <a:lnSpc>
                <a:spcPct val="100000"/>
              </a:lnSpc>
              <a:spcBef>
                <a:spcPts val="600"/>
              </a:spcBef>
              <a:buNone/>
            </a:pPr>
            <a:r>
              <a:rPr lang="en-GB" sz="1200" b="1" dirty="0">
                <a:solidFill>
                  <a:srgbClr val="073B45"/>
                </a:solidFill>
              </a:rPr>
              <a:t>Project Manager</a:t>
            </a:r>
            <a:r>
              <a:rPr lang="en-GB" sz="1200" dirty="0">
                <a:solidFill>
                  <a:srgbClr val="073B45"/>
                </a:solidFill>
              </a:rPr>
              <a:t>: tba</a:t>
            </a:r>
          </a:p>
          <a:p>
            <a:pPr marL="0" indent="0">
              <a:lnSpc>
                <a:spcPct val="100000"/>
              </a:lnSpc>
              <a:spcBef>
                <a:spcPts val="600"/>
              </a:spcBef>
              <a:buNone/>
            </a:pPr>
            <a:r>
              <a:rPr lang="en-GB" sz="1200" b="1" dirty="0">
                <a:solidFill>
                  <a:srgbClr val="073B45"/>
                </a:solidFill>
              </a:rPr>
              <a:t>BAU Lead</a:t>
            </a:r>
            <a:r>
              <a:rPr lang="en-GB" sz="1200" dirty="0">
                <a:solidFill>
                  <a:srgbClr val="073B45"/>
                </a:solidFill>
              </a:rPr>
              <a:t>: tba</a:t>
            </a:r>
          </a:p>
        </p:txBody>
      </p:sp>
      <p:sp>
        <p:nvSpPr>
          <p:cNvPr id="17" name="Text Placeholder 12">
            <a:extLst>
              <a:ext uri="{FF2B5EF4-FFF2-40B4-BE49-F238E27FC236}">
                <a16:creationId xmlns:a16="http://schemas.microsoft.com/office/drawing/2014/main" id="{858D4D84-B27F-4609-AF63-781A8A607DD6}"/>
              </a:ext>
            </a:extLst>
          </p:cNvPr>
          <p:cNvSpPr txBox="1">
            <a:spLocks/>
          </p:cNvSpPr>
          <p:nvPr/>
        </p:nvSpPr>
        <p:spPr>
          <a:xfrm>
            <a:off x="3312000" y="2505154"/>
            <a:ext cx="2520000" cy="286554"/>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US" sz="1300" dirty="0">
                <a:solidFill>
                  <a:srgbClr val="FF6B4D"/>
                </a:solidFill>
              </a:rPr>
              <a:t>&lt; CUSTOMER &gt;</a:t>
            </a:r>
          </a:p>
        </p:txBody>
      </p:sp>
      <p:sp>
        <p:nvSpPr>
          <p:cNvPr id="18" name="Text Placeholder 18">
            <a:extLst>
              <a:ext uri="{FF2B5EF4-FFF2-40B4-BE49-F238E27FC236}">
                <a16:creationId xmlns:a16="http://schemas.microsoft.com/office/drawing/2014/main" id="{3892E19C-864B-41D8-8D8B-EA8084A17293}"/>
              </a:ext>
            </a:extLst>
          </p:cNvPr>
          <p:cNvSpPr txBox="1">
            <a:spLocks/>
          </p:cNvSpPr>
          <p:nvPr/>
        </p:nvSpPr>
        <p:spPr>
          <a:xfrm>
            <a:off x="3399412" y="2792621"/>
            <a:ext cx="2520000" cy="1587439"/>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0000"/>
              </a:lnSpc>
              <a:spcBef>
                <a:spcPts val="600"/>
              </a:spcBef>
              <a:buNone/>
            </a:pPr>
            <a:r>
              <a:rPr lang="en-GB" sz="1200" b="1" dirty="0">
                <a:solidFill>
                  <a:srgbClr val="073B45"/>
                </a:solidFill>
              </a:rPr>
              <a:t>SAM Manager</a:t>
            </a:r>
            <a:r>
              <a:rPr lang="en-GB" sz="1200" dirty="0">
                <a:solidFill>
                  <a:srgbClr val="073B45"/>
                </a:solidFill>
              </a:rPr>
              <a:t>: tba</a:t>
            </a:r>
          </a:p>
          <a:p>
            <a:pPr marL="0" indent="0">
              <a:lnSpc>
                <a:spcPct val="100000"/>
              </a:lnSpc>
              <a:spcBef>
                <a:spcPts val="600"/>
              </a:spcBef>
              <a:buNone/>
            </a:pPr>
            <a:r>
              <a:rPr lang="en-GB" sz="1200" b="1" dirty="0">
                <a:solidFill>
                  <a:srgbClr val="073B45"/>
                </a:solidFill>
              </a:rPr>
              <a:t>SAM Practitioner</a:t>
            </a:r>
            <a:r>
              <a:rPr lang="en-GB" sz="1200" dirty="0">
                <a:solidFill>
                  <a:srgbClr val="073B45"/>
                </a:solidFill>
              </a:rPr>
              <a:t>: tba</a:t>
            </a:r>
          </a:p>
          <a:p>
            <a:pPr marL="0" indent="0">
              <a:lnSpc>
                <a:spcPct val="100000"/>
              </a:lnSpc>
              <a:spcBef>
                <a:spcPts val="600"/>
              </a:spcBef>
              <a:buNone/>
            </a:pPr>
            <a:r>
              <a:rPr lang="en-GB" sz="1200" b="1" dirty="0">
                <a:solidFill>
                  <a:srgbClr val="073B45"/>
                </a:solidFill>
              </a:rPr>
              <a:t>Project Manager: </a:t>
            </a:r>
            <a:r>
              <a:rPr lang="en-GB" sz="1200" dirty="0">
                <a:solidFill>
                  <a:srgbClr val="073B45"/>
                </a:solidFill>
              </a:rPr>
              <a:t>tba</a:t>
            </a:r>
          </a:p>
          <a:p>
            <a:pPr marL="0" indent="0">
              <a:lnSpc>
                <a:spcPct val="100000"/>
              </a:lnSpc>
              <a:spcBef>
                <a:spcPts val="600"/>
              </a:spcBef>
              <a:buNone/>
            </a:pPr>
            <a:r>
              <a:rPr lang="en-GB" sz="1200" b="1" dirty="0">
                <a:solidFill>
                  <a:srgbClr val="073B45"/>
                </a:solidFill>
              </a:rPr>
              <a:t>IT Architect</a:t>
            </a:r>
            <a:r>
              <a:rPr lang="en-GB" sz="1200" dirty="0">
                <a:solidFill>
                  <a:srgbClr val="073B45"/>
                </a:solidFill>
              </a:rPr>
              <a:t>: tba</a:t>
            </a:r>
          </a:p>
          <a:p>
            <a:pPr marL="0" indent="0">
              <a:lnSpc>
                <a:spcPct val="100000"/>
              </a:lnSpc>
              <a:spcBef>
                <a:spcPts val="600"/>
              </a:spcBef>
              <a:buNone/>
            </a:pPr>
            <a:r>
              <a:rPr lang="en-GB" sz="1200" b="1" dirty="0">
                <a:solidFill>
                  <a:srgbClr val="073B45"/>
                </a:solidFill>
              </a:rPr>
              <a:t>Infrastructure Lead</a:t>
            </a:r>
            <a:r>
              <a:rPr lang="en-GB" sz="1200" dirty="0">
                <a:solidFill>
                  <a:srgbClr val="073B45"/>
                </a:solidFill>
              </a:rPr>
              <a:t>: tba</a:t>
            </a:r>
          </a:p>
          <a:p>
            <a:pPr marL="0" indent="0">
              <a:lnSpc>
                <a:spcPct val="100000"/>
              </a:lnSpc>
              <a:spcBef>
                <a:spcPts val="600"/>
              </a:spcBef>
              <a:buNone/>
            </a:pPr>
            <a:r>
              <a:rPr lang="en-GB" sz="1200" b="1" dirty="0">
                <a:solidFill>
                  <a:srgbClr val="073B45"/>
                </a:solidFill>
              </a:rPr>
              <a:t>IT Lead</a:t>
            </a:r>
            <a:r>
              <a:rPr lang="en-GB" sz="1200" dirty="0">
                <a:solidFill>
                  <a:srgbClr val="073B45"/>
                </a:solidFill>
              </a:rPr>
              <a:t>: tba</a:t>
            </a:r>
          </a:p>
          <a:p>
            <a:pPr marL="0" indent="0">
              <a:lnSpc>
                <a:spcPct val="100000"/>
              </a:lnSpc>
              <a:spcBef>
                <a:spcPts val="600"/>
              </a:spcBef>
              <a:buNone/>
            </a:pPr>
            <a:endParaRPr lang="en-GB" sz="1200" dirty="0">
              <a:solidFill>
                <a:srgbClr val="073B45"/>
              </a:solidFill>
            </a:endParaRPr>
          </a:p>
          <a:p>
            <a:pPr marL="0" indent="0">
              <a:lnSpc>
                <a:spcPct val="100000"/>
              </a:lnSpc>
              <a:spcBef>
                <a:spcPts val="600"/>
              </a:spcBef>
              <a:buNone/>
            </a:pPr>
            <a:endParaRPr lang="en-GB" sz="1200" dirty="0">
              <a:solidFill>
                <a:srgbClr val="073B45"/>
              </a:solidFill>
            </a:endParaRPr>
          </a:p>
          <a:p>
            <a:pPr marL="0" indent="0">
              <a:buNone/>
            </a:pPr>
            <a:endParaRPr lang="en-GB" sz="1200" dirty="0">
              <a:solidFill>
                <a:srgbClr val="073B45"/>
              </a:solidFill>
            </a:endParaRPr>
          </a:p>
        </p:txBody>
      </p:sp>
      <p:sp>
        <p:nvSpPr>
          <p:cNvPr id="19" name="Text Placeholder 12">
            <a:extLst>
              <a:ext uri="{FF2B5EF4-FFF2-40B4-BE49-F238E27FC236}">
                <a16:creationId xmlns:a16="http://schemas.microsoft.com/office/drawing/2014/main" id="{9E0D8139-747C-4112-B7CF-0730A35B43C7}"/>
              </a:ext>
            </a:extLst>
          </p:cNvPr>
          <p:cNvSpPr txBox="1">
            <a:spLocks/>
          </p:cNvSpPr>
          <p:nvPr/>
        </p:nvSpPr>
        <p:spPr>
          <a:xfrm>
            <a:off x="6076241" y="2505154"/>
            <a:ext cx="2390294" cy="286554"/>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US" sz="1300" dirty="0">
                <a:solidFill>
                  <a:srgbClr val="FF6B4D"/>
                </a:solidFill>
              </a:rPr>
              <a:t>Crayon</a:t>
            </a:r>
          </a:p>
        </p:txBody>
      </p:sp>
      <p:sp>
        <p:nvSpPr>
          <p:cNvPr id="24" name="Text Placeholder 12">
            <a:extLst>
              <a:ext uri="{FF2B5EF4-FFF2-40B4-BE49-F238E27FC236}">
                <a16:creationId xmlns:a16="http://schemas.microsoft.com/office/drawing/2014/main" id="{58177836-4DB7-452D-B6E4-61ED0192B355}"/>
              </a:ext>
            </a:extLst>
          </p:cNvPr>
          <p:cNvSpPr txBox="1">
            <a:spLocks/>
          </p:cNvSpPr>
          <p:nvPr/>
        </p:nvSpPr>
        <p:spPr>
          <a:xfrm>
            <a:off x="4816241" y="2234783"/>
            <a:ext cx="2520000" cy="286554"/>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US" sz="1300" b="1" dirty="0">
                <a:solidFill>
                  <a:srgbClr val="006600"/>
                </a:solidFill>
              </a:rPr>
              <a:t>SQUAD</a:t>
            </a:r>
          </a:p>
        </p:txBody>
      </p:sp>
      <p:sp>
        <p:nvSpPr>
          <p:cNvPr id="25" name="Text Placeholder 12">
            <a:extLst>
              <a:ext uri="{FF2B5EF4-FFF2-40B4-BE49-F238E27FC236}">
                <a16:creationId xmlns:a16="http://schemas.microsoft.com/office/drawing/2014/main" id="{63ED2ED8-C345-4CFB-9929-616A7349B27C}"/>
              </a:ext>
            </a:extLst>
          </p:cNvPr>
          <p:cNvSpPr txBox="1">
            <a:spLocks/>
          </p:cNvSpPr>
          <p:nvPr/>
        </p:nvSpPr>
        <p:spPr>
          <a:xfrm>
            <a:off x="619623" y="3773166"/>
            <a:ext cx="2421819" cy="286554"/>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US" sz="1300" dirty="0">
                <a:solidFill>
                  <a:srgbClr val="FF6B4D"/>
                </a:solidFill>
              </a:rPr>
              <a:t>Crayon</a:t>
            </a:r>
          </a:p>
        </p:txBody>
      </p:sp>
      <p:sp>
        <p:nvSpPr>
          <p:cNvPr id="26" name="Text Placeholder 18">
            <a:extLst>
              <a:ext uri="{FF2B5EF4-FFF2-40B4-BE49-F238E27FC236}">
                <a16:creationId xmlns:a16="http://schemas.microsoft.com/office/drawing/2014/main" id="{0BDE0F5E-B29C-49BC-A156-51C2C1B46DF1}"/>
              </a:ext>
            </a:extLst>
          </p:cNvPr>
          <p:cNvSpPr txBox="1">
            <a:spLocks/>
          </p:cNvSpPr>
          <p:nvPr/>
        </p:nvSpPr>
        <p:spPr>
          <a:xfrm>
            <a:off x="645939" y="4050181"/>
            <a:ext cx="2421819" cy="611872"/>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0000"/>
              </a:lnSpc>
              <a:spcBef>
                <a:spcPts val="600"/>
              </a:spcBef>
              <a:buNone/>
            </a:pPr>
            <a:r>
              <a:rPr lang="en-GB" sz="1200" b="1" dirty="0">
                <a:solidFill>
                  <a:srgbClr val="073B45"/>
                </a:solidFill>
              </a:rPr>
              <a:t>Sponsor:</a:t>
            </a:r>
            <a:r>
              <a:rPr lang="en-GB" sz="1200" dirty="0">
                <a:solidFill>
                  <a:srgbClr val="073B45"/>
                </a:solidFill>
              </a:rPr>
              <a:t>  David Jensen</a:t>
            </a:r>
          </a:p>
          <a:p>
            <a:pPr marL="0" indent="0">
              <a:lnSpc>
                <a:spcPct val="100000"/>
              </a:lnSpc>
              <a:spcBef>
                <a:spcPts val="600"/>
              </a:spcBef>
              <a:buNone/>
            </a:pPr>
            <a:r>
              <a:rPr lang="en-GB" sz="1200" b="1" dirty="0">
                <a:solidFill>
                  <a:srgbClr val="073B45"/>
                </a:solidFill>
              </a:rPr>
              <a:t>Account Manager</a:t>
            </a:r>
            <a:r>
              <a:rPr lang="en-GB" sz="1200" dirty="0">
                <a:solidFill>
                  <a:srgbClr val="073B45"/>
                </a:solidFill>
              </a:rPr>
              <a:t>: tba</a:t>
            </a:r>
          </a:p>
          <a:p>
            <a:pPr marL="0" indent="0">
              <a:buNone/>
            </a:pPr>
            <a:endParaRPr lang="en-GB" sz="1200" dirty="0">
              <a:solidFill>
                <a:srgbClr val="073B45"/>
              </a:solidFill>
            </a:endParaRPr>
          </a:p>
        </p:txBody>
      </p:sp>
      <p:sp>
        <p:nvSpPr>
          <p:cNvPr id="27" name="Text Placeholder 18">
            <a:extLst>
              <a:ext uri="{FF2B5EF4-FFF2-40B4-BE49-F238E27FC236}">
                <a16:creationId xmlns:a16="http://schemas.microsoft.com/office/drawing/2014/main" id="{0B638935-2CD2-49C5-A770-AAEE4931BE4D}"/>
              </a:ext>
            </a:extLst>
          </p:cNvPr>
          <p:cNvSpPr txBox="1">
            <a:spLocks/>
          </p:cNvSpPr>
          <p:nvPr/>
        </p:nvSpPr>
        <p:spPr>
          <a:xfrm>
            <a:off x="5998668" y="2792621"/>
            <a:ext cx="2467867" cy="1587439"/>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0000"/>
              </a:lnSpc>
              <a:spcBef>
                <a:spcPts val="600"/>
              </a:spcBef>
              <a:buNone/>
            </a:pPr>
            <a:r>
              <a:rPr lang="en-GB" sz="1200" b="1" dirty="0">
                <a:solidFill>
                  <a:srgbClr val="073B45"/>
                </a:solidFill>
              </a:rPr>
              <a:t>Project Lead: </a:t>
            </a:r>
            <a:r>
              <a:rPr lang="en-GB" sz="1200" dirty="0">
                <a:solidFill>
                  <a:srgbClr val="073B45"/>
                </a:solidFill>
              </a:rPr>
              <a:t>tba</a:t>
            </a:r>
          </a:p>
          <a:p>
            <a:pPr marL="0" indent="0">
              <a:lnSpc>
                <a:spcPct val="100000"/>
              </a:lnSpc>
              <a:spcBef>
                <a:spcPts val="600"/>
              </a:spcBef>
              <a:buNone/>
            </a:pPr>
            <a:r>
              <a:rPr lang="en-GB" sz="1200" b="1" dirty="0">
                <a:solidFill>
                  <a:srgbClr val="073B45"/>
                </a:solidFill>
              </a:rPr>
              <a:t>Tech Consultant</a:t>
            </a:r>
            <a:r>
              <a:rPr lang="en-GB" sz="1200" dirty="0">
                <a:solidFill>
                  <a:srgbClr val="073B45"/>
                </a:solidFill>
              </a:rPr>
              <a:t>: tba</a:t>
            </a:r>
          </a:p>
          <a:p>
            <a:pPr marL="0" indent="0">
              <a:lnSpc>
                <a:spcPct val="100000"/>
              </a:lnSpc>
              <a:spcBef>
                <a:spcPts val="600"/>
              </a:spcBef>
              <a:buNone/>
            </a:pPr>
            <a:r>
              <a:rPr lang="en-GB" sz="1200" b="1" dirty="0">
                <a:solidFill>
                  <a:srgbClr val="073B45"/>
                </a:solidFill>
              </a:rPr>
              <a:t>SAM Consultant</a:t>
            </a:r>
            <a:r>
              <a:rPr lang="en-GB" sz="1200" dirty="0">
                <a:solidFill>
                  <a:srgbClr val="073B45"/>
                </a:solidFill>
              </a:rPr>
              <a:t>: tba</a:t>
            </a:r>
          </a:p>
          <a:p>
            <a:pPr marL="0" indent="0">
              <a:lnSpc>
                <a:spcPct val="100000"/>
              </a:lnSpc>
              <a:spcBef>
                <a:spcPts val="600"/>
              </a:spcBef>
              <a:buNone/>
            </a:pPr>
            <a:r>
              <a:rPr lang="en-GB" sz="1200" b="1" dirty="0">
                <a:solidFill>
                  <a:srgbClr val="073B45"/>
                </a:solidFill>
              </a:rPr>
              <a:t>Scrum Master</a:t>
            </a:r>
            <a:r>
              <a:rPr lang="en-GB" sz="1200" dirty="0">
                <a:solidFill>
                  <a:srgbClr val="073B45"/>
                </a:solidFill>
              </a:rPr>
              <a:t>: tba</a:t>
            </a:r>
          </a:p>
          <a:p>
            <a:pPr marL="0" indent="0">
              <a:lnSpc>
                <a:spcPct val="100000"/>
              </a:lnSpc>
              <a:spcBef>
                <a:spcPts val="600"/>
              </a:spcBef>
              <a:buNone/>
            </a:pPr>
            <a:endParaRPr lang="en-GB" sz="1200" dirty="0">
              <a:solidFill>
                <a:srgbClr val="073B45"/>
              </a:solidFill>
            </a:endParaRPr>
          </a:p>
          <a:p>
            <a:pPr marL="0" indent="0">
              <a:buNone/>
            </a:pPr>
            <a:endParaRPr lang="en-GB" sz="1200" dirty="0">
              <a:solidFill>
                <a:srgbClr val="073B45"/>
              </a:solidFill>
            </a:endParaRPr>
          </a:p>
        </p:txBody>
      </p:sp>
      <p:sp>
        <p:nvSpPr>
          <p:cNvPr id="20" name="Text Placeholder 12">
            <a:extLst>
              <a:ext uri="{FF2B5EF4-FFF2-40B4-BE49-F238E27FC236}">
                <a16:creationId xmlns:a16="http://schemas.microsoft.com/office/drawing/2014/main" id="{D158195B-0D58-4522-83DC-CBAD6089F46E}"/>
              </a:ext>
            </a:extLst>
          </p:cNvPr>
          <p:cNvSpPr txBox="1">
            <a:spLocks/>
          </p:cNvSpPr>
          <p:nvPr/>
        </p:nvSpPr>
        <p:spPr>
          <a:xfrm>
            <a:off x="521442" y="2234783"/>
            <a:ext cx="2520000" cy="286554"/>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US" sz="1300" b="1" dirty="0">
                <a:solidFill>
                  <a:srgbClr val="006600"/>
                </a:solidFill>
              </a:rPr>
              <a:t>GOVERNANCE</a:t>
            </a:r>
          </a:p>
        </p:txBody>
      </p:sp>
    </p:spTree>
    <p:extLst>
      <p:ext uri="{BB962C8B-B14F-4D97-AF65-F5344CB8AC3E}">
        <p14:creationId xmlns:p14="http://schemas.microsoft.com/office/powerpoint/2010/main" val="22900785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9" name="object 299"/>
          <p:cNvSpPr/>
          <p:nvPr/>
        </p:nvSpPr>
        <p:spPr>
          <a:xfrm>
            <a:off x="0" y="0"/>
            <a:ext cx="9144000" cy="5143500"/>
          </a:xfrm>
          <a:custGeom>
            <a:avLst/>
            <a:gdLst/>
            <a:ahLst/>
            <a:cxnLst/>
            <a:rect l="l" t="t" r="r" b="b"/>
            <a:pathLst>
              <a:path w="9144000" h="5143500">
                <a:moveTo>
                  <a:pt x="0" y="5143500"/>
                </a:moveTo>
                <a:lnTo>
                  <a:pt x="0" y="0"/>
                </a:lnTo>
                <a:lnTo>
                  <a:pt x="9144000" y="0"/>
                </a:lnTo>
                <a:lnTo>
                  <a:pt x="9144000" y="5143500"/>
                </a:lnTo>
                <a:lnTo>
                  <a:pt x="0" y="5143500"/>
                </a:lnTo>
                <a:close/>
              </a:path>
            </a:pathLst>
          </a:custGeom>
          <a:solidFill>
            <a:srgbClr val="FFFFFF"/>
          </a:solidFill>
        </p:spPr>
        <p:txBody>
          <a:bodyPr wrap="square" lIns="0" tIns="0" rIns="0" bIns="0" rtlCol="0">
            <a:noAutofit/>
          </a:bodyPr>
          <a:lstStyle/>
          <a:p>
            <a:endParaRPr/>
          </a:p>
        </p:txBody>
      </p:sp>
      <p:pic>
        <p:nvPicPr>
          <p:cNvPr id="372"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83652" y="4728972"/>
            <a:ext cx="1165860" cy="384048"/>
          </a:xfrm>
          <a:prstGeom prst="rect">
            <a:avLst/>
          </a:prstGeom>
        </p:spPr>
      </p:pic>
      <p:sp>
        <p:nvSpPr>
          <p:cNvPr id="2" name="text 1"/>
          <p:cNvSpPr txBox="1"/>
          <p:nvPr/>
        </p:nvSpPr>
        <p:spPr>
          <a:xfrm>
            <a:off x="190054" y="326681"/>
            <a:ext cx="3860031" cy="430887"/>
          </a:xfrm>
          <a:prstGeom prst="rect">
            <a:avLst/>
          </a:prstGeom>
        </p:spPr>
        <p:txBody>
          <a:bodyPr vert="horz" wrap="none" lIns="0" tIns="0" rIns="0" bIns="0" rtlCol="0">
            <a:spAutoFit/>
          </a:bodyPr>
          <a:lstStyle/>
          <a:p>
            <a:pPr marL="0">
              <a:lnSpc>
                <a:spcPct val="100000"/>
              </a:lnSpc>
            </a:pPr>
            <a:r>
              <a:rPr lang="en-AU" sz="2800" b="1" spc="10" dirty="0">
                <a:solidFill>
                  <a:srgbClr val="FF6A4C"/>
                </a:solidFill>
                <a:latin typeface="Arial"/>
                <a:cs typeface="Arial"/>
              </a:rPr>
              <a:t>Implementation Scope</a:t>
            </a:r>
            <a:endParaRPr sz="2800" b="1" dirty="0">
              <a:solidFill>
                <a:srgbClr val="FF6A4C"/>
              </a:solidFill>
              <a:latin typeface="Arial"/>
              <a:cs typeface="Arial"/>
            </a:endParaRPr>
          </a:p>
        </p:txBody>
      </p:sp>
      <p:sp>
        <p:nvSpPr>
          <p:cNvPr id="7" name="text 1"/>
          <p:cNvSpPr txBox="1"/>
          <p:nvPr/>
        </p:nvSpPr>
        <p:spPr>
          <a:xfrm>
            <a:off x="490818" y="1612819"/>
            <a:ext cx="3625326" cy="1338828"/>
          </a:xfrm>
          <a:prstGeom prst="rect">
            <a:avLst/>
          </a:prstGeom>
        </p:spPr>
        <p:txBody>
          <a:bodyPr vert="horz" wrap="square" lIns="0" tIns="0" rIns="0" bIns="0" rtlCol="0">
            <a:spAutoFit/>
          </a:bodyPr>
          <a:lstStyle/>
          <a:p>
            <a:pPr marL="342900" indent="-342900">
              <a:lnSpc>
                <a:spcPct val="100000"/>
              </a:lnSpc>
              <a:spcAft>
                <a:spcPts val="600"/>
              </a:spcAft>
              <a:buFont typeface="+mj-lt"/>
              <a:buAutoNum type="arabicPeriod"/>
            </a:pPr>
            <a:r>
              <a:rPr lang="en-US" sz="1800" spc="10" dirty="0">
                <a:solidFill>
                  <a:srgbClr val="094E5D"/>
                </a:solidFill>
                <a:latin typeface="Arial"/>
                <a:cs typeface="Arial"/>
              </a:rPr>
              <a:t>Starter – SAM Data Model</a:t>
            </a:r>
          </a:p>
          <a:p>
            <a:pPr marL="342900" indent="-342900">
              <a:lnSpc>
                <a:spcPct val="100000"/>
              </a:lnSpc>
              <a:spcAft>
                <a:spcPts val="600"/>
              </a:spcAft>
              <a:buFont typeface="+mj-lt"/>
              <a:buAutoNum type="arabicPeriod"/>
            </a:pPr>
            <a:r>
              <a:rPr lang="en-US" sz="1800" spc="10" dirty="0">
                <a:solidFill>
                  <a:srgbClr val="094E5D"/>
                </a:solidFill>
                <a:latin typeface="Arial"/>
                <a:cs typeface="Arial"/>
              </a:rPr>
              <a:t>Asset Number ?</a:t>
            </a:r>
          </a:p>
          <a:p>
            <a:pPr marL="342900" indent="-342900">
              <a:lnSpc>
                <a:spcPct val="100000"/>
              </a:lnSpc>
              <a:spcAft>
                <a:spcPts val="600"/>
              </a:spcAft>
              <a:buFont typeface="+mj-lt"/>
              <a:buAutoNum type="arabicPeriod"/>
            </a:pPr>
            <a:r>
              <a:rPr lang="en-US" sz="1800" spc="10" dirty="0">
                <a:solidFill>
                  <a:srgbClr val="094E5D"/>
                </a:solidFill>
                <a:latin typeface="Arial"/>
                <a:cs typeface="Arial"/>
              </a:rPr>
              <a:t>Data System Connections ?</a:t>
            </a:r>
          </a:p>
          <a:p>
            <a:pPr marL="342900" indent="-342900">
              <a:lnSpc>
                <a:spcPct val="100000"/>
              </a:lnSpc>
              <a:spcAft>
                <a:spcPts val="600"/>
              </a:spcAft>
              <a:buFont typeface="+mj-lt"/>
              <a:buAutoNum type="arabicPeriod"/>
            </a:pPr>
            <a:r>
              <a:rPr lang="en-US" sz="1800" spc="10" dirty="0">
                <a:solidFill>
                  <a:srgbClr val="094E5D"/>
                </a:solidFill>
                <a:latin typeface="Arial"/>
                <a:cs typeface="Arial"/>
              </a:rPr>
              <a:t>Software Vendors ?</a:t>
            </a:r>
          </a:p>
        </p:txBody>
      </p:sp>
      <p:pic>
        <p:nvPicPr>
          <p:cNvPr id="14" name="Picture Placeholder 8">
            <a:extLst>
              <a:ext uri="{FF2B5EF4-FFF2-40B4-BE49-F238E27FC236}">
                <a16:creationId xmlns:a16="http://schemas.microsoft.com/office/drawing/2014/main" id="{60FDBE7F-C435-4877-938D-9968BE7951DA}"/>
              </a:ext>
            </a:extLst>
          </p:cNvPr>
          <p:cNvPicPr>
            <a:picLocks noChangeAspect="1"/>
          </p:cNvPicPr>
          <p:nvPr/>
        </p:nvPicPr>
        <p:blipFill>
          <a:blip r:embed="rId4"/>
          <a:srcRect t="5000" b="5000"/>
          <a:stretch>
            <a:fillRect/>
          </a:stretch>
        </p:blipFill>
        <p:spPr>
          <a:xfrm>
            <a:off x="4544782" y="30480"/>
            <a:ext cx="4572000" cy="5143500"/>
          </a:xfrm>
          <a:prstGeom prst="rect">
            <a:avLst/>
          </a:prstGeom>
        </p:spPr>
      </p:pic>
      <p:pic>
        <p:nvPicPr>
          <p:cNvPr id="9" name="Graphic 8">
            <a:extLst>
              <a:ext uri="{FF2B5EF4-FFF2-40B4-BE49-F238E27FC236}">
                <a16:creationId xmlns:a16="http://schemas.microsoft.com/office/drawing/2014/main" id="{B6612F0C-C9FE-4B3C-AE80-A6306C29587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4488" y="3955752"/>
            <a:ext cx="1050960" cy="1050960"/>
          </a:xfrm>
          <a:prstGeom prst="rect">
            <a:avLst/>
          </a:prstGeom>
        </p:spPr>
      </p:pic>
    </p:spTree>
    <p:extLst>
      <p:ext uri="{BB962C8B-B14F-4D97-AF65-F5344CB8AC3E}">
        <p14:creationId xmlns:p14="http://schemas.microsoft.com/office/powerpoint/2010/main" val="1960616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01151683-B0B7-4BB4-97F1-BF80690CBE1B}"/>
              </a:ext>
            </a:extLst>
          </p:cNvPr>
          <p:cNvSpPr txBox="1">
            <a:spLocks/>
          </p:cNvSpPr>
          <p:nvPr/>
        </p:nvSpPr>
        <p:spPr bwMode="gray">
          <a:xfrm>
            <a:off x="142796" y="-94575"/>
            <a:ext cx="8749475" cy="491495"/>
          </a:xfrm>
          <a:prstGeom prst="rect">
            <a:avLst/>
          </a:prstGeom>
          <a:noFill/>
          <a:ln>
            <a:noFill/>
          </a:ln>
        </p:spPr>
        <p:txBody>
          <a:bodyPr vert="horz" lIns="68526" tIns="0" rIns="68526" bIns="0" rtlCol="0" anchor="b" anchorCtr="0">
            <a:noAutofit/>
          </a:bodyPr>
          <a:lstStyle>
            <a:lvl1pPr algn="l" defTabSz="457200" rtl="0" eaLnBrk="1" latinLnBrk="0" hangingPunct="1">
              <a:lnSpc>
                <a:spcPct val="85000"/>
              </a:lnSpc>
              <a:spcBef>
                <a:spcPts val="0"/>
              </a:spcBef>
              <a:buNone/>
              <a:defRPr lang="en-US" sz="3200" b="0" kern="1200" dirty="0" smtClean="0">
                <a:solidFill>
                  <a:schemeClr val="tx1"/>
                </a:solidFill>
                <a:latin typeface="+mj-lt"/>
                <a:ea typeface="+mj-ea"/>
                <a:cs typeface="+mj-cs"/>
              </a:defRPr>
            </a:lvl1pPr>
          </a:lstStyle>
          <a:p>
            <a:pPr marL="0" marR="0" lvl="0" indent="0" algn="l" defTabSz="342900" rtl="0" eaLnBrk="1" fontAlgn="auto" latinLnBrk="0" hangingPunct="1">
              <a:lnSpc>
                <a:spcPct val="85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3E40"/>
                </a:solidFill>
                <a:effectLst/>
                <a:uLnTx/>
                <a:uFillTx/>
                <a:latin typeface="+mn-lt"/>
                <a:ea typeface="MS PGothic" charset="0"/>
                <a:cs typeface="+mj-cs"/>
              </a:rPr>
              <a:t>To start, lets look at the SAM Data Model</a:t>
            </a:r>
          </a:p>
        </p:txBody>
      </p:sp>
      <p:grpSp>
        <p:nvGrpSpPr>
          <p:cNvPr id="4" name="Group 3">
            <a:extLst>
              <a:ext uri="{FF2B5EF4-FFF2-40B4-BE49-F238E27FC236}">
                <a16:creationId xmlns:a16="http://schemas.microsoft.com/office/drawing/2014/main" id="{10E75E14-7AA4-420F-A3C6-3567B783E015}"/>
              </a:ext>
            </a:extLst>
          </p:cNvPr>
          <p:cNvGrpSpPr/>
          <p:nvPr/>
        </p:nvGrpSpPr>
        <p:grpSpPr>
          <a:xfrm>
            <a:off x="770447" y="609335"/>
            <a:ext cx="7555244" cy="4266193"/>
            <a:chOff x="770447" y="609335"/>
            <a:chExt cx="7555244" cy="4266193"/>
          </a:xfrm>
        </p:grpSpPr>
        <p:cxnSp>
          <p:nvCxnSpPr>
            <p:cNvPr id="111" name="Straight Connector 110">
              <a:extLst>
                <a:ext uri="{FF2B5EF4-FFF2-40B4-BE49-F238E27FC236}">
                  <a16:creationId xmlns:a16="http://schemas.microsoft.com/office/drawing/2014/main" id="{E0DDB4CB-4101-4C44-A60A-955AC2E61E76}"/>
                </a:ext>
              </a:extLst>
            </p:cNvPr>
            <p:cNvCxnSpPr>
              <a:cxnSpLocks/>
            </p:cNvCxnSpPr>
            <p:nvPr/>
          </p:nvCxnSpPr>
          <p:spPr>
            <a:xfrm flipH="1" flipV="1">
              <a:off x="2917300" y="2502870"/>
              <a:ext cx="2795854" cy="2637"/>
            </a:xfrm>
            <a:prstGeom prst="line">
              <a:avLst/>
            </a:prstGeom>
            <a:ln w="12700">
              <a:solidFill>
                <a:srgbClr val="094E5D">
                  <a:alpha val="50000"/>
                </a:srgb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1D7FD82-A558-4F72-BFD8-B2674AF09648}"/>
                </a:ext>
              </a:extLst>
            </p:cNvPr>
            <p:cNvCxnSpPr>
              <a:cxnSpLocks/>
            </p:cNvCxnSpPr>
            <p:nvPr/>
          </p:nvCxnSpPr>
          <p:spPr>
            <a:xfrm>
              <a:off x="3627352" y="1987964"/>
              <a:ext cx="147028" cy="137026"/>
            </a:xfrm>
            <a:prstGeom prst="line">
              <a:avLst/>
            </a:prstGeom>
            <a:ln w="12700">
              <a:solidFill>
                <a:srgbClr val="094E5D">
                  <a:alpha val="50000"/>
                </a:srgb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F3D8914-A081-4EE9-A84A-9982D4EFFCB8}"/>
                </a:ext>
              </a:extLst>
            </p:cNvPr>
            <p:cNvCxnSpPr>
              <a:cxnSpLocks/>
            </p:cNvCxnSpPr>
            <p:nvPr/>
          </p:nvCxnSpPr>
          <p:spPr>
            <a:xfrm flipV="1">
              <a:off x="3616053" y="2838175"/>
              <a:ext cx="153100" cy="156813"/>
            </a:xfrm>
            <a:prstGeom prst="line">
              <a:avLst/>
            </a:prstGeom>
            <a:ln w="12700">
              <a:solidFill>
                <a:srgbClr val="094E5D">
                  <a:alpha val="50000"/>
                </a:srgb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C712012-528D-48E3-8D3E-6BB1420AB3CA}"/>
                </a:ext>
              </a:extLst>
            </p:cNvPr>
            <p:cNvCxnSpPr>
              <a:cxnSpLocks/>
            </p:cNvCxnSpPr>
            <p:nvPr/>
          </p:nvCxnSpPr>
          <p:spPr>
            <a:xfrm flipV="1">
              <a:off x="4368762" y="2003457"/>
              <a:ext cx="172753" cy="179337"/>
            </a:xfrm>
            <a:prstGeom prst="line">
              <a:avLst/>
            </a:prstGeom>
            <a:ln w="12700">
              <a:solidFill>
                <a:srgbClr val="094E5D">
                  <a:alpha val="50000"/>
                </a:srgbClr>
              </a:solidFill>
            </a:ln>
          </p:spPr>
          <p:style>
            <a:lnRef idx="1">
              <a:schemeClr val="accent1"/>
            </a:lnRef>
            <a:fillRef idx="0">
              <a:schemeClr val="accent1"/>
            </a:fillRef>
            <a:effectRef idx="0">
              <a:schemeClr val="accent1"/>
            </a:effectRef>
            <a:fontRef idx="minor">
              <a:schemeClr val="tx1"/>
            </a:fontRef>
          </p:style>
        </p:cxnSp>
        <p:sp>
          <p:nvSpPr>
            <p:cNvPr id="75" name="Arrow: Right 74">
              <a:extLst>
                <a:ext uri="{FF2B5EF4-FFF2-40B4-BE49-F238E27FC236}">
                  <a16:creationId xmlns:a16="http://schemas.microsoft.com/office/drawing/2014/main" id="{32A15143-F624-4517-9763-CEB61BC88CB0}"/>
                </a:ext>
              </a:extLst>
            </p:cNvPr>
            <p:cNvSpPr>
              <a:spLocks noChangeAspect="1"/>
            </p:cNvSpPr>
            <p:nvPr/>
          </p:nvSpPr>
          <p:spPr>
            <a:xfrm rot="10800000">
              <a:off x="6409524" y="2809610"/>
              <a:ext cx="634309" cy="353269"/>
            </a:xfrm>
            <a:prstGeom prst="rightArrow">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AU" sz="2000" b="1"/>
            </a:p>
          </p:txBody>
        </p:sp>
        <p:sp>
          <p:nvSpPr>
            <p:cNvPr id="89" name="Diamond 88">
              <a:extLst>
                <a:ext uri="{FF2B5EF4-FFF2-40B4-BE49-F238E27FC236}">
                  <a16:creationId xmlns:a16="http://schemas.microsoft.com/office/drawing/2014/main" id="{9930A015-667E-4AE8-9930-B61B2C976233}"/>
                </a:ext>
              </a:extLst>
            </p:cNvPr>
            <p:cNvSpPr>
              <a:spLocks noChangeAspect="1"/>
            </p:cNvSpPr>
            <p:nvPr/>
          </p:nvSpPr>
          <p:spPr>
            <a:xfrm>
              <a:off x="2895708" y="1227243"/>
              <a:ext cx="1028403" cy="1066832"/>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900"/>
                </a:spcBef>
                <a:spcAft>
                  <a:spcPts val="0"/>
                </a:spcAft>
                <a:buClrTx/>
                <a:buSzTx/>
                <a:buFontTx/>
                <a:buNone/>
                <a:tabLst/>
                <a:defRPr/>
              </a:pPr>
              <a:r>
                <a:rPr lang="en-US" sz="1000" b="1" dirty="0">
                  <a:solidFill>
                    <a:srgbClr val="FFFFFF"/>
                  </a:solidFill>
                </a:rPr>
                <a:t>Purchase</a:t>
              </a:r>
              <a:endParaRPr kumimoji="0" lang="en-US" sz="1000" b="1" i="0" u="none" strike="noStrike" kern="1200" cap="none" spc="0" normalizeH="0" baseline="0" noProof="0" dirty="0">
                <a:ln>
                  <a:noFill/>
                </a:ln>
                <a:solidFill>
                  <a:srgbClr val="FFFFFF"/>
                </a:solidFill>
                <a:effectLst/>
                <a:uLnTx/>
                <a:uFillTx/>
                <a:ea typeface="+mn-ea"/>
                <a:cs typeface="+mn-cs"/>
              </a:endParaRPr>
            </a:p>
          </p:txBody>
        </p:sp>
        <p:sp>
          <p:nvSpPr>
            <p:cNvPr id="91" name="Diamond 90">
              <a:extLst>
                <a:ext uri="{FF2B5EF4-FFF2-40B4-BE49-F238E27FC236}">
                  <a16:creationId xmlns:a16="http://schemas.microsoft.com/office/drawing/2014/main" id="{160166F3-FCBA-4320-AF5A-7E8501708C14}"/>
                </a:ext>
              </a:extLst>
            </p:cNvPr>
            <p:cNvSpPr/>
            <p:nvPr/>
          </p:nvSpPr>
          <p:spPr>
            <a:xfrm>
              <a:off x="2364974" y="2079675"/>
              <a:ext cx="815166" cy="831961"/>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defTabSz="914400">
                <a:spcBef>
                  <a:spcPts val="900"/>
                </a:spcBef>
              </a:pPr>
              <a:r>
                <a:rPr lang="en-US" sz="1000" b="1" dirty="0">
                  <a:solidFill>
                    <a:srgbClr val="FFFFFF"/>
                  </a:solidFill>
                </a:rPr>
                <a:t>Contract</a:t>
              </a:r>
            </a:p>
          </p:txBody>
        </p:sp>
        <p:cxnSp>
          <p:nvCxnSpPr>
            <p:cNvPr id="96" name="Straight Connector 95">
              <a:extLst>
                <a:ext uri="{FF2B5EF4-FFF2-40B4-BE49-F238E27FC236}">
                  <a16:creationId xmlns:a16="http://schemas.microsoft.com/office/drawing/2014/main" id="{D3D8A56A-01A5-4F6B-BA8B-7562DCA29EFB}"/>
                </a:ext>
              </a:extLst>
            </p:cNvPr>
            <p:cNvCxnSpPr>
              <a:cxnSpLocks/>
            </p:cNvCxnSpPr>
            <p:nvPr/>
          </p:nvCxnSpPr>
          <p:spPr>
            <a:xfrm>
              <a:off x="4413026" y="2813540"/>
              <a:ext cx="190256" cy="176553"/>
            </a:xfrm>
            <a:prstGeom prst="line">
              <a:avLst/>
            </a:prstGeom>
            <a:ln w="12700">
              <a:solidFill>
                <a:srgbClr val="094E5D">
                  <a:alpha val="50000"/>
                </a:srgbClr>
              </a:solidFill>
            </a:ln>
          </p:spPr>
          <p:style>
            <a:lnRef idx="1">
              <a:schemeClr val="accent1"/>
            </a:lnRef>
            <a:fillRef idx="0">
              <a:schemeClr val="accent1"/>
            </a:fillRef>
            <a:effectRef idx="0">
              <a:schemeClr val="accent1"/>
            </a:effectRef>
            <a:fontRef idx="minor">
              <a:schemeClr val="tx1"/>
            </a:fontRef>
          </p:style>
        </p:cxnSp>
        <p:sp>
          <p:nvSpPr>
            <p:cNvPr id="88" name="Diamond 87">
              <a:extLst>
                <a:ext uri="{FF2B5EF4-FFF2-40B4-BE49-F238E27FC236}">
                  <a16:creationId xmlns:a16="http://schemas.microsoft.com/office/drawing/2014/main" id="{9411A9DE-F464-4FAC-A3C3-E977D32281E0}"/>
                </a:ext>
              </a:extLst>
            </p:cNvPr>
            <p:cNvSpPr>
              <a:spLocks noChangeAspect="1"/>
            </p:cNvSpPr>
            <p:nvPr/>
          </p:nvSpPr>
          <p:spPr>
            <a:xfrm>
              <a:off x="3430637" y="1793176"/>
              <a:ext cx="1319813" cy="1395461"/>
            </a:xfrm>
            <a:prstGeom prst="diamond">
              <a:avLst/>
            </a:prstGeom>
            <a:solidFill>
              <a:srgbClr val="FF6A4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900"/>
                </a:spcBef>
                <a:spcAft>
                  <a:spcPts val="0"/>
                </a:spcAft>
                <a:buClrTx/>
                <a:buSzTx/>
                <a:buFontTx/>
                <a:buNone/>
                <a:tabLst/>
                <a:defRPr/>
              </a:pPr>
              <a:r>
                <a:rPr lang="en-US" sz="1200" b="1" dirty="0">
                  <a:solidFill>
                    <a:srgbClr val="FFFFFF"/>
                  </a:solidFill>
                </a:rPr>
                <a:t>License</a:t>
              </a:r>
              <a:endParaRPr kumimoji="0" lang="en-US" sz="1200" b="1" i="0" u="none" strike="noStrike" kern="1200" cap="none" spc="0" normalizeH="0" baseline="0" noProof="0" dirty="0">
                <a:ln>
                  <a:noFill/>
                </a:ln>
                <a:solidFill>
                  <a:srgbClr val="FFFFFF"/>
                </a:solidFill>
                <a:effectLst/>
                <a:uLnTx/>
                <a:uFillTx/>
                <a:ea typeface="+mn-ea"/>
                <a:cs typeface="+mn-cs"/>
              </a:endParaRPr>
            </a:p>
          </p:txBody>
        </p:sp>
        <p:sp>
          <p:nvSpPr>
            <p:cNvPr id="102" name="Arrow: Right 101">
              <a:extLst>
                <a:ext uri="{FF2B5EF4-FFF2-40B4-BE49-F238E27FC236}">
                  <a16:creationId xmlns:a16="http://schemas.microsoft.com/office/drawing/2014/main" id="{8C260CCB-FAC9-4CF3-9700-3BB55F184632}"/>
                </a:ext>
              </a:extLst>
            </p:cNvPr>
            <p:cNvSpPr>
              <a:spLocks noChangeAspect="1"/>
            </p:cNvSpPr>
            <p:nvPr/>
          </p:nvSpPr>
          <p:spPr>
            <a:xfrm>
              <a:off x="1951448" y="3218790"/>
              <a:ext cx="1054870" cy="345792"/>
            </a:xfrm>
            <a:prstGeom prst="rightArrow">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AU" sz="2000" b="1"/>
            </a:p>
          </p:txBody>
        </p:sp>
        <p:sp>
          <p:nvSpPr>
            <p:cNvPr id="103" name="Arrow: Right 102">
              <a:extLst>
                <a:ext uri="{FF2B5EF4-FFF2-40B4-BE49-F238E27FC236}">
                  <a16:creationId xmlns:a16="http://schemas.microsoft.com/office/drawing/2014/main" id="{A1FCE833-8E97-4640-A582-42DD3B6C9D7D}"/>
                </a:ext>
              </a:extLst>
            </p:cNvPr>
            <p:cNvSpPr>
              <a:spLocks noChangeAspect="1"/>
            </p:cNvSpPr>
            <p:nvPr/>
          </p:nvSpPr>
          <p:spPr>
            <a:xfrm>
              <a:off x="1852931" y="2569452"/>
              <a:ext cx="545736" cy="345792"/>
            </a:xfrm>
            <a:prstGeom prst="rightArrow">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AU" sz="2000" b="1"/>
            </a:p>
          </p:txBody>
        </p:sp>
        <p:sp>
          <p:nvSpPr>
            <p:cNvPr id="104" name="Arrow: Right 103">
              <a:extLst>
                <a:ext uri="{FF2B5EF4-FFF2-40B4-BE49-F238E27FC236}">
                  <a16:creationId xmlns:a16="http://schemas.microsoft.com/office/drawing/2014/main" id="{C61E0585-2470-42CE-8A29-3E4B9D20838E}"/>
                </a:ext>
              </a:extLst>
            </p:cNvPr>
            <p:cNvSpPr>
              <a:spLocks noChangeAspect="1"/>
            </p:cNvSpPr>
            <p:nvPr/>
          </p:nvSpPr>
          <p:spPr>
            <a:xfrm rot="16200000">
              <a:off x="4159143" y="3868269"/>
              <a:ext cx="888280" cy="362723"/>
            </a:xfrm>
            <a:prstGeom prst="rightArrow">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AU" sz="2000" b="1" dirty="0"/>
            </a:p>
          </p:txBody>
        </p:sp>
        <p:sp>
          <p:nvSpPr>
            <p:cNvPr id="106" name="Arrow: Right 105">
              <a:extLst>
                <a:ext uri="{FF2B5EF4-FFF2-40B4-BE49-F238E27FC236}">
                  <a16:creationId xmlns:a16="http://schemas.microsoft.com/office/drawing/2014/main" id="{7E369DA6-D1DB-49A9-985E-65B15EE24F4D}"/>
                </a:ext>
              </a:extLst>
            </p:cNvPr>
            <p:cNvSpPr>
              <a:spLocks noChangeAspect="1"/>
            </p:cNvSpPr>
            <p:nvPr/>
          </p:nvSpPr>
          <p:spPr>
            <a:xfrm rot="10800000">
              <a:off x="5919660" y="3953693"/>
              <a:ext cx="1096475" cy="345792"/>
            </a:xfrm>
            <a:prstGeom prst="rightArrow">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AU" sz="2000" b="1"/>
            </a:p>
          </p:txBody>
        </p:sp>
        <p:sp>
          <p:nvSpPr>
            <p:cNvPr id="109" name="Diamond 108">
              <a:extLst>
                <a:ext uri="{FF2B5EF4-FFF2-40B4-BE49-F238E27FC236}">
                  <a16:creationId xmlns:a16="http://schemas.microsoft.com/office/drawing/2014/main" id="{DF5D8471-E619-43EB-9D97-8B8D38FFF0D1}"/>
                </a:ext>
              </a:extLst>
            </p:cNvPr>
            <p:cNvSpPr>
              <a:spLocks noChangeAspect="1"/>
            </p:cNvSpPr>
            <p:nvPr/>
          </p:nvSpPr>
          <p:spPr>
            <a:xfrm>
              <a:off x="4278309" y="1220179"/>
              <a:ext cx="1028403" cy="1066832"/>
            </a:xfrm>
            <a:prstGeom prst="diamond">
              <a:avLst/>
            </a:prstGeom>
            <a:solidFill>
              <a:srgbClr val="094E5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Aft>
                  <a:spcPts val="0"/>
                </a:spcAft>
                <a:buClrTx/>
                <a:buSzTx/>
                <a:buFontTx/>
                <a:buNone/>
                <a:tabLst/>
                <a:defRPr/>
              </a:pPr>
              <a:r>
                <a:rPr lang="en-US" sz="1000" b="1" dirty="0">
                  <a:solidFill>
                    <a:srgbClr val="FFFFFF"/>
                  </a:solidFill>
                </a:rPr>
                <a:t>Application</a:t>
              </a:r>
              <a:endParaRPr kumimoji="0" lang="en-US" sz="1000" b="1" i="0" u="none" strike="noStrike" kern="1200" cap="none" spc="0" normalizeH="0" baseline="0" noProof="0" dirty="0">
                <a:ln>
                  <a:noFill/>
                </a:ln>
                <a:solidFill>
                  <a:srgbClr val="FFFFFF"/>
                </a:solidFill>
                <a:effectLst/>
                <a:uLnTx/>
                <a:uFillTx/>
                <a:ea typeface="+mn-ea"/>
                <a:cs typeface="+mn-cs"/>
              </a:endParaRPr>
            </a:p>
          </p:txBody>
        </p:sp>
        <p:cxnSp>
          <p:nvCxnSpPr>
            <p:cNvPr id="110" name="Straight Connector 109">
              <a:extLst>
                <a:ext uri="{FF2B5EF4-FFF2-40B4-BE49-F238E27FC236}">
                  <a16:creationId xmlns:a16="http://schemas.microsoft.com/office/drawing/2014/main" id="{1FEB35CE-24CD-43C2-BCD8-68239D6AA472}"/>
                </a:ext>
              </a:extLst>
            </p:cNvPr>
            <p:cNvCxnSpPr>
              <a:cxnSpLocks/>
            </p:cNvCxnSpPr>
            <p:nvPr/>
          </p:nvCxnSpPr>
          <p:spPr>
            <a:xfrm flipV="1">
              <a:off x="5071763" y="2756625"/>
              <a:ext cx="163971" cy="172852"/>
            </a:xfrm>
            <a:prstGeom prst="line">
              <a:avLst/>
            </a:prstGeom>
            <a:ln w="12700">
              <a:solidFill>
                <a:srgbClr val="094E5D">
                  <a:alpha val="50000"/>
                </a:srgbClr>
              </a:solidFill>
            </a:ln>
          </p:spPr>
          <p:style>
            <a:lnRef idx="1">
              <a:schemeClr val="accent1"/>
            </a:lnRef>
            <a:fillRef idx="0">
              <a:schemeClr val="accent1"/>
            </a:fillRef>
            <a:effectRef idx="0">
              <a:schemeClr val="accent1"/>
            </a:effectRef>
            <a:fontRef idx="minor">
              <a:schemeClr val="tx1"/>
            </a:fontRef>
          </p:style>
        </p:cxnSp>
        <p:sp>
          <p:nvSpPr>
            <p:cNvPr id="63" name="Diamond 62">
              <a:extLst>
                <a:ext uri="{FF2B5EF4-FFF2-40B4-BE49-F238E27FC236}">
                  <a16:creationId xmlns:a16="http://schemas.microsoft.com/office/drawing/2014/main" id="{2D145C26-4784-411D-BBF8-BC9BB1F96E47}"/>
                </a:ext>
              </a:extLst>
            </p:cNvPr>
            <p:cNvSpPr/>
            <p:nvPr/>
          </p:nvSpPr>
          <p:spPr>
            <a:xfrm>
              <a:off x="4961053" y="2028558"/>
              <a:ext cx="958738" cy="939039"/>
            </a:xfrm>
            <a:prstGeom prst="diamond">
              <a:avLst/>
            </a:prstGeom>
            <a:solidFill>
              <a:srgbClr val="094E5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900"/>
                </a:spcBef>
                <a:spcAft>
                  <a:spcPts val="0"/>
                </a:spcAft>
                <a:buClrTx/>
                <a:buSzTx/>
                <a:buFontTx/>
                <a:buNone/>
                <a:tabLst/>
                <a:defRPr/>
              </a:pPr>
              <a:r>
                <a:rPr lang="en-US" sz="1000" b="1" dirty="0">
                  <a:solidFill>
                    <a:srgbClr val="FFFFFF"/>
                  </a:solidFill>
                </a:rPr>
                <a:t>User</a:t>
              </a:r>
              <a:endParaRPr kumimoji="0" lang="en-US" sz="1000" b="1" i="0" u="none" strike="noStrike" kern="1200" cap="none" spc="0" normalizeH="0" baseline="0" noProof="0" dirty="0">
                <a:ln>
                  <a:noFill/>
                </a:ln>
                <a:solidFill>
                  <a:srgbClr val="FFFFFF"/>
                </a:solidFill>
                <a:effectLst/>
                <a:uLnTx/>
                <a:uFillTx/>
                <a:ea typeface="+mn-ea"/>
                <a:cs typeface="+mn-cs"/>
              </a:endParaRPr>
            </a:p>
          </p:txBody>
        </p:sp>
        <p:sp>
          <p:nvSpPr>
            <p:cNvPr id="105" name="Diamond 104">
              <a:extLst>
                <a:ext uri="{FF2B5EF4-FFF2-40B4-BE49-F238E27FC236}">
                  <a16:creationId xmlns:a16="http://schemas.microsoft.com/office/drawing/2014/main" id="{8EC4930E-F8CF-4D41-BCD4-01954478A238}"/>
                </a:ext>
              </a:extLst>
            </p:cNvPr>
            <p:cNvSpPr>
              <a:spLocks noChangeAspect="1"/>
            </p:cNvSpPr>
            <p:nvPr/>
          </p:nvSpPr>
          <p:spPr>
            <a:xfrm>
              <a:off x="4316671" y="2655313"/>
              <a:ext cx="1024814" cy="1083554"/>
            </a:xfrm>
            <a:prstGeom prst="diamond">
              <a:avLst/>
            </a:prstGeom>
            <a:solidFill>
              <a:srgbClr val="094E5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Aft>
                  <a:spcPts val="0"/>
                </a:spcAft>
                <a:buClrTx/>
                <a:buSzTx/>
                <a:buFontTx/>
                <a:buNone/>
                <a:tabLst/>
                <a:defRPr/>
              </a:pPr>
              <a:r>
                <a:rPr lang="en-US" sz="1000" b="1" dirty="0">
                  <a:solidFill>
                    <a:srgbClr val="FFFFFF"/>
                  </a:solidFill>
                </a:rPr>
                <a:t>Inventory </a:t>
              </a:r>
            </a:p>
            <a:p>
              <a:pPr marL="0" marR="0" lvl="0" indent="0" algn="ctr" defTabSz="914400" rtl="0" eaLnBrk="1" fontAlgn="auto" latinLnBrk="0" hangingPunct="1">
                <a:lnSpc>
                  <a:spcPct val="100000"/>
                </a:lnSpc>
                <a:spcAft>
                  <a:spcPts val="0"/>
                </a:spcAft>
                <a:buClrTx/>
                <a:buSzTx/>
                <a:buFontTx/>
                <a:buNone/>
                <a:tabLst/>
                <a:defRPr/>
              </a:pPr>
              <a:r>
                <a:rPr lang="en-US" sz="1000" b="1" dirty="0">
                  <a:solidFill>
                    <a:srgbClr val="FFFFFF"/>
                  </a:solidFill>
                </a:rPr>
                <a:t>Device</a:t>
              </a:r>
              <a:endParaRPr kumimoji="0" lang="en-US" sz="1000" b="1" i="0" u="none" strike="noStrike" kern="1200" cap="none" spc="0" normalizeH="0" baseline="0" noProof="0" dirty="0">
                <a:ln>
                  <a:noFill/>
                </a:ln>
                <a:solidFill>
                  <a:srgbClr val="FFFFFF"/>
                </a:solidFill>
                <a:effectLst/>
                <a:uLnTx/>
                <a:uFillTx/>
                <a:ea typeface="+mn-ea"/>
                <a:cs typeface="+mn-cs"/>
              </a:endParaRPr>
            </a:p>
          </p:txBody>
        </p:sp>
        <p:sp>
          <p:nvSpPr>
            <p:cNvPr id="95" name="TextBox 94">
              <a:extLst>
                <a:ext uri="{FF2B5EF4-FFF2-40B4-BE49-F238E27FC236}">
                  <a16:creationId xmlns:a16="http://schemas.microsoft.com/office/drawing/2014/main" id="{60F2739B-5E6C-4C71-A6B7-D6076AE14F20}"/>
                </a:ext>
              </a:extLst>
            </p:cNvPr>
            <p:cNvSpPr txBox="1"/>
            <p:nvPr/>
          </p:nvSpPr>
          <p:spPr>
            <a:xfrm rot="18828172">
              <a:off x="3359397" y="2064475"/>
              <a:ext cx="1034453" cy="184666"/>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300" normalizeH="0" baseline="0" noProof="0" dirty="0">
                  <a:ln>
                    <a:noFill/>
                  </a:ln>
                  <a:solidFill>
                    <a:srgbClr val="000000"/>
                  </a:solidFill>
                  <a:effectLst/>
                  <a:uLnTx/>
                  <a:uFillTx/>
                  <a:ea typeface="Meiryo" panose="020B0400000000000000" pitchFamily="34" charset="-128"/>
                  <a:cs typeface="Vani" panose="020B0502040204020203" pitchFamily="18" charset="0"/>
                </a:rPr>
                <a:t>#Entitlements</a:t>
              </a:r>
            </a:p>
          </p:txBody>
        </p:sp>
        <p:sp>
          <p:nvSpPr>
            <p:cNvPr id="100" name="TextBox 99">
              <a:extLst>
                <a:ext uri="{FF2B5EF4-FFF2-40B4-BE49-F238E27FC236}">
                  <a16:creationId xmlns:a16="http://schemas.microsoft.com/office/drawing/2014/main" id="{8C5DC959-C3A3-44CB-AD0A-4A540F681106}"/>
                </a:ext>
              </a:extLst>
            </p:cNvPr>
            <p:cNvSpPr txBox="1"/>
            <p:nvPr/>
          </p:nvSpPr>
          <p:spPr>
            <a:xfrm rot="18828172">
              <a:off x="3963592" y="2657074"/>
              <a:ext cx="810341" cy="184666"/>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300" normalizeH="0" baseline="0" noProof="0" dirty="0">
                  <a:ln>
                    <a:noFill/>
                  </a:ln>
                  <a:solidFill>
                    <a:srgbClr val="000000"/>
                  </a:solidFill>
                  <a:effectLst/>
                  <a:uLnTx/>
                  <a:uFillTx/>
                  <a:ea typeface="Meiryo" panose="020B0400000000000000" pitchFamily="34" charset="-128"/>
                  <a:cs typeface="Vani" panose="020B0502040204020203" pitchFamily="18" charset="0"/>
                </a:rPr>
                <a:t># Consumed</a:t>
              </a:r>
            </a:p>
          </p:txBody>
        </p:sp>
        <p:cxnSp>
          <p:nvCxnSpPr>
            <p:cNvPr id="119" name="Straight Connector 118">
              <a:extLst>
                <a:ext uri="{FF2B5EF4-FFF2-40B4-BE49-F238E27FC236}">
                  <a16:creationId xmlns:a16="http://schemas.microsoft.com/office/drawing/2014/main" id="{264F5C54-66F9-4988-AC7F-F76DAA50BD89}"/>
                </a:ext>
              </a:extLst>
            </p:cNvPr>
            <p:cNvCxnSpPr>
              <a:cxnSpLocks/>
            </p:cNvCxnSpPr>
            <p:nvPr/>
          </p:nvCxnSpPr>
          <p:spPr>
            <a:xfrm flipV="1">
              <a:off x="2965454" y="2041474"/>
              <a:ext cx="237950" cy="247846"/>
            </a:xfrm>
            <a:prstGeom prst="line">
              <a:avLst/>
            </a:prstGeom>
            <a:ln w="12700">
              <a:solidFill>
                <a:srgbClr val="094E5D">
                  <a:alpha val="50000"/>
                </a:srgbClr>
              </a:solidFill>
            </a:ln>
          </p:spPr>
          <p:style>
            <a:lnRef idx="1">
              <a:schemeClr val="accent1"/>
            </a:lnRef>
            <a:fillRef idx="0">
              <a:schemeClr val="accent1"/>
            </a:fillRef>
            <a:effectRef idx="0">
              <a:schemeClr val="accent1"/>
            </a:effectRef>
            <a:fontRef idx="minor">
              <a:schemeClr val="tx1"/>
            </a:fontRef>
          </p:style>
        </p:cxnSp>
        <p:sp>
          <p:nvSpPr>
            <p:cNvPr id="123" name="Arrow: Right 122">
              <a:extLst>
                <a:ext uri="{FF2B5EF4-FFF2-40B4-BE49-F238E27FC236}">
                  <a16:creationId xmlns:a16="http://schemas.microsoft.com/office/drawing/2014/main" id="{8ED1428D-2E3E-45F6-8FDC-AB062EAEBFE6}"/>
                </a:ext>
              </a:extLst>
            </p:cNvPr>
            <p:cNvSpPr>
              <a:spLocks noChangeAspect="1"/>
            </p:cNvSpPr>
            <p:nvPr/>
          </p:nvSpPr>
          <p:spPr>
            <a:xfrm rot="10800000">
              <a:off x="5801937" y="2124990"/>
              <a:ext cx="1222226" cy="345792"/>
            </a:xfrm>
            <a:prstGeom prst="rightArrow">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AU" sz="2000" b="1"/>
            </a:p>
          </p:txBody>
        </p:sp>
        <p:sp>
          <p:nvSpPr>
            <p:cNvPr id="79" name="Arrow: Right 78">
              <a:extLst>
                <a:ext uri="{FF2B5EF4-FFF2-40B4-BE49-F238E27FC236}">
                  <a16:creationId xmlns:a16="http://schemas.microsoft.com/office/drawing/2014/main" id="{A514A6CE-35E8-431A-BF08-83F0B738F7BC}"/>
                </a:ext>
              </a:extLst>
            </p:cNvPr>
            <p:cNvSpPr>
              <a:spLocks noChangeAspect="1"/>
            </p:cNvSpPr>
            <p:nvPr/>
          </p:nvSpPr>
          <p:spPr>
            <a:xfrm rot="5400000">
              <a:off x="2578274" y="1156643"/>
              <a:ext cx="666517" cy="345792"/>
            </a:xfrm>
            <a:prstGeom prst="rightArrow">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AU" sz="2000" b="1"/>
            </a:p>
          </p:txBody>
        </p:sp>
        <p:sp>
          <p:nvSpPr>
            <p:cNvPr id="126" name="Rectangle 125">
              <a:extLst>
                <a:ext uri="{FF2B5EF4-FFF2-40B4-BE49-F238E27FC236}">
                  <a16:creationId xmlns:a16="http://schemas.microsoft.com/office/drawing/2014/main" id="{F4FE4DFD-6F07-4BF9-9DED-6A5A5B58D491}"/>
                </a:ext>
              </a:extLst>
            </p:cNvPr>
            <p:cNvSpPr/>
            <p:nvPr/>
          </p:nvSpPr>
          <p:spPr>
            <a:xfrm>
              <a:off x="770447" y="3207173"/>
              <a:ext cx="1244981" cy="389926"/>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050" b="1" i="0" u="none" strike="noStrike" kern="1200" cap="none" spc="0" normalizeH="0" baseline="0" noProof="0" dirty="0">
                  <a:ln>
                    <a:noFill/>
                  </a:ln>
                  <a:solidFill>
                    <a:srgbClr val="094E5D"/>
                  </a:solidFill>
                  <a:effectLst/>
                  <a:uLnTx/>
                  <a:uFillTx/>
                  <a:ea typeface="+mn-ea"/>
                  <a:cs typeface="+mn-cs"/>
                </a:rPr>
                <a:t>SaaS data sources</a:t>
              </a:r>
            </a:p>
          </p:txBody>
        </p:sp>
        <p:sp>
          <p:nvSpPr>
            <p:cNvPr id="127" name="Rectangle 126">
              <a:extLst>
                <a:ext uri="{FF2B5EF4-FFF2-40B4-BE49-F238E27FC236}">
                  <a16:creationId xmlns:a16="http://schemas.microsoft.com/office/drawing/2014/main" id="{15D567E3-6030-4D99-90EC-AB5925F30161}"/>
                </a:ext>
              </a:extLst>
            </p:cNvPr>
            <p:cNvSpPr/>
            <p:nvPr/>
          </p:nvSpPr>
          <p:spPr>
            <a:xfrm>
              <a:off x="777965" y="2542293"/>
              <a:ext cx="1244981" cy="400110"/>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050" b="1" i="0" u="none" strike="noStrike" kern="1200" cap="none" spc="0" normalizeH="0" baseline="0" noProof="0" dirty="0">
                  <a:ln>
                    <a:noFill/>
                  </a:ln>
                  <a:solidFill>
                    <a:srgbClr val="094E5D"/>
                  </a:solidFill>
                  <a:effectLst/>
                  <a:uLnTx/>
                  <a:uFillTx/>
                  <a:ea typeface="+mn-ea"/>
                  <a:cs typeface="+mn-cs"/>
                </a:rPr>
                <a:t>Contract data sources</a:t>
              </a:r>
            </a:p>
          </p:txBody>
        </p:sp>
        <p:sp>
          <p:nvSpPr>
            <p:cNvPr id="128" name="Rectangle 127">
              <a:extLst>
                <a:ext uri="{FF2B5EF4-FFF2-40B4-BE49-F238E27FC236}">
                  <a16:creationId xmlns:a16="http://schemas.microsoft.com/office/drawing/2014/main" id="{79E34B0A-800D-4918-8BFC-23E2302BBFBA}"/>
                </a:ext>
              </a:extLst>
            </p:cNvPr>
            <p:cNvSpPr/>
            <p:nvPr/>
          </p:nvSpPr>
          <p:spPr>
            <a:xfrm>
              <a:off x="4162153" y="4493771"/>
              <a:ext cx="1244981" cy="381757"/>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050" b="1" i="0" u="none" strike="noStrike" kern="1200" cap="none" spc="0" normalizeH="0" baseline="0" noProof="0" dirty="0">
                  <a:ln>
                    <a:noFill/>
                  </a:ln>
                  <a:solidFill>
                    <a:srgbClr val="094E5D"/>
                  </a:solidFill>
                  <a:effectLst/>
                  <a:uLnTx/>
                  <a:uFillTx/>
                  <a:ea typeface="+mn-ea"/>
                  <a:cs typeface="+mn-cs"/>
                </a:rPr>
                <a:t>Inventory data sources</a:t>
              </a:r>
            </a:p>
          </p:txBody>
        </p:sp>
        <p:sp>
          <p:nvSpPr>
            <p:cNvPr id="129" name="Rectangle 128">
              <a:extLst>
                <a:ext uri="{FF2B5EF4-FFF2-40B4-BE49-F238E27FC236}">
                  <a16:creationId xmlns:a16="http://schemas.microsoft.com/office/drawing/2014/main" id="{38AF164C-776B-427C-8CF7-D51402AED192}"/>
                </a:ext>
              </a:extLst>
            </p:cNvPr>
            <p:cNvSpPr/>
            <p:nvPr/>
          </p:nvSpPr>
          <p:spPr>
            <a:xfrm>
              <a:off x="3929766" y="613582"/>
              <a:ext cx="1244981" cy="381757"/>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050" b="1" i="0" u="none" strike="noStrike" kern="1200" cap="none" spc="0" normalizeH="0" baseline="0" noProof="0" dirty="0">
                  <a:ln>
                    <a:noFill/>
                  </a:ln>
                  <a:solidFill>
                    <a:srgbClr val="094E5D"/>
                  </a:solidFill>
                  <a:effectLst/>
                  <a:uLnTx/>
                  <a:uFillTx/>
                  <a:ea typeface="+mn-ea"/>
                  <a:cs typeface="+mn-cs"/>
                </a:rPr>
                <a:t>Flexera Content Libraries</a:t>
              </a:r>
            </a:p>
          </p:txBody>
        </p:sp>
        <p:sp>
          <p:nvSpPr>
            <p:cNvPr id="130" name="Rectangle 129">
              <a:extLst>
                <a:ext uri="{FF2B5EF4-FFF2-40B4-BE49-F238E27FC236}">
                  <a16:creationId xmlns:a16="http://schemas.microsoft.com/office/drawing/2014/main" id="{227CD991-9829-48AE-811C-3D08F17118D6}"/>
                </a:ext>
              </a:extLst>
            </p:cNvPr>
            <p:cNvSpPr/>
            <p:nvPr/>
          </p:nvSpPr>
          <p:spPr>
            <a:xfrm>
              <a:off x="7080710" y="3916694"/>
              <a:ext cx="1244981" cy="389926"/>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050" b="1" i="0" u="none" strike="noStrike" kern="1200" cap="none" spc="0" normalizeH="0" baseline="0" noProof="0" dirty="0">
                  <a:ln>
                    <a:noFill/>
                  </a:ln>
                  <a:solidFill>
                    <a:srgbClr val="094E5D"/>
                  </a:solidFill>
                  <a:effectLst/>
                  <a:uLnTx/>
                  <a:uFillTx/>
                  <a:ea typeface="+mn-ea"/>
                  <a:cs typeface="+mn-cs"/>
                </a:rPr>
                <a:t>Asset data sources</a:t>
              </a:r>
            </a:p>
          </p:txBody>
        </p:sp>
        <p:sp>
          <p:nvSpPr>
            <p:cNvPr id="131" name="Rectangle 130">
              <a:extLst>
                <a:ext uri="{FF2B5EF4-FFF2-40B4-BE49-F238E27FC236}">
                  <a16:creationId xmlns:a16="http://schemas.microsoft.com/office/drawing/2014/main" id="{51911F83-9837-4DA2-B412-AA7639484E32}"/>
                </a:ext>
              </a:extLst>
            </p:cNvPr>
            <p:cNvSpPr/>
            <p:nvPr/>
          </p:nvSpPr>
          <p:spPr>
            <a:xfrm>
              <a:off x="7080710" y="2083329"/>
              <a:ext cx="1043371" cy="389926"/>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050" b="1" i="0" u="none" strike="noStrike" kern="1200" cap="none" spc="0" normalizeH="0" baseline="0" noProof="0" dirty="0">
                  <a:ln>
                    <a:noFill/>
                  </a:ln>
                  <a:solidFill>
                    <a:srgbClr val="094E5D"/>
                  </a:solidFill>
                  <a:effectLst/>
                  <a:uLnTx/>
                  <a:uFillTx/>
                  <a:ea typeface="+mn-ea"/>
                  <a:cs typeface="+mn-cs"/>
                </a:rPr>
                <a:t>HR data sources</a:t>
              </a:r>
            </a:p>
          </p:txBody>
        </p:sp>
        <p:sp>
          <p:nvSpPr>
            <p:cNvPr id="132" name="Rectangle 131">
              <a:extLst>
                <a:ext uri="{FF2B5EF4-FFF2-40B4-BE49-F238E27FC236}">
                  <a16:creationId xmlns:a16="http://schemas.microsoft.com/office/drawing/2014/main" id="{63447D90-883C-4971-A6DA-39AC7145C251}"/>
                </a:ext>
              </a:extLst>
            </p:cNvPr>
            <p:cNvSpPr/>
            <p:nvPr/>
          </p:nvSpPr>
          <p:spPr>
            <a:xfrm>
              <a:off x="7080710" y="2734514"/>
              <a:ext cx="1244981" cy="389926"/>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050" b="1" i="0" u="none" strike="noStrike" kern="1200" cap="none" spc="0" normalizeH="0" baseline="0" noProof="0" dirty="0">
                  <a:ln>
                    <a:noFill/>
                  </a:ln>
                  <a:solidFill>
                    <a:srgbClr val="094E5D"/>
                  </a:solidFill>
                  <a:effectLst/>
                  <a:uLnTx/>
                  <a:uFillTx/>
                  <a:ea typeface="+mn-ea"/>
                  <a:cs typeface="+mn-cs"/>
                </a:rPr>
                <a:t>Organizational data sources</a:t>
              </a:r>
            </a:p>
          </p:txBody>
        </p:sp>
        <p:sp>
          <p:nvSpPr>
            <p:cNvPr id="125" name="Rectangle 124">
              <a:extLst>
                <a:ext uri="{FF2B5EF4-FFF2-40B4-BE49-F238E27FC236}">
                  <a16:creationId xmlns:a16="http://schemas.microsoft.com/office/drawing/2014/main" id="{4044A26F-5646-4DFF-BADF-B7B8578FF5B1}"/>
                </a:ext>
              </a:extLst>
            </p:cNvPr>
            <p:cNvSpPr/>
            <p:nvPr/>
          </p:nvSpPr>
          <p:spPr>
            <a:xfrm>
              <a:off x="2342963" y="609335"/>
              <a:ext cx="1244981" cy="400110"/>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050" b="1" i="0" u="none" strike="noStrike" kern="1200" cap="none" spc="0" normalizeH="0" baseline="0" noProof="0" dirty="0">
                  <a:ln>
                    <a:noFill/>
                  </a:ln>
                  <a:solidFill>
                    <a:srgbClr val="094E5D"/>
                  </a:solidFill>
                  <a:effectLst/>
                  <a:uLnTx/>
                  <a:uFillTx/>
                  <a:ea typeface="+mn-ea"/>
                  <a:cs typeface="+mn-cs"/>
                </a:rPr>
                <a:t>Purchase data sources</a:t>
              </a:r>
            </a:p>
          </p:txBody>
        </p:sp>
        <p:cxnSp>
          <p:nvCxnSpPr>
            <p:cNvPr id="46" name="Straight Connector 45">
              <a:extLst>
                <a:ext uri="{FF2B5EF4-FFF2-40B4-BE49-F238E27FC236}">
                  <a16:creationId xmlns:a16="http://schemas.microsoft.com/office/drawing/2014/main" id="{5736D97B-2EE8-44E4-B455-1E0DD925FB00}"/>
                </a:ext>
              </a:extLst>
            </p:cNvPr>
            <p:cNvCxnSpPr>
              <a:cxnSpLocks/>
            </p:cNvCxnSpPr>
            <p:nvPr/>
          </p:nvCxnSpPr>
          <p:spPr>
            <a:xfrm>
              <a:off x="5074372" y="3458096"/>
              <a:ext cx="190256" cy="176553"/>
            </a:xfrm>
            <a:prstGeom prst="line">
              <a:avLst/>
            </a:prstGeom>
            <a:ln w="12700">
              <a:solidFill>
                <a:srgbClr val="094E5D">
                  <a:alpha val="50000"/>
                </a:srgbClr>
              </a:solidFill>
            </a:ln>
          </p:spPr>
          <p:style>
            <a:lnRef idx="1">
              <a:schemeClr val="accent1"/>
            </a:lnRef>
            <a:fillRef idx="0">
              <a:schemeClr val="accent1"/>
            </a:fillRef>
            <a:effectRef idx="0">
              <a:schemeClr val="accent1"/>
            </a:effectRef>
            <a:fontRef idx="minor">
              <a:schemeClr val="tx1"/>
            </a:fontRef>
          </p:style>
        </p:cxnSp>
        <p:sp>
          <p:nvSpPr>
            <p:cNvPr id="52" name="Diamond 51">
              <a:extLst>
                <a:ext uri="{FF2B5EF4-FFF2-40B4-BE49-F238E27FC236}">
                  <a16:creationId xmlns:a16="http://schemas.microsoft.com/office/drawing/2014/main" id="{F4159B6E-B7E9-48CE-90F9-DCBDD0D1A1DC}"/>
                </a:ext>
              </a:extLst>
            </p:cNvPr>
            <p:cNvSpPr/>
            <p:nvPr/>
          </p:nvSpPr>
          <p:spPr>
            <a:xfrm>
              <a:off x="5722811" y="2779400"/>
              <a:ext cx="815166" cy="831961"/>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defTabSz="914400"/>
              <a:r>
                <a:rPr lang="en-US" sz="1000" b="1" dirty="0">
                  <a:solidFill>
                    <a:srgbClr val="FFFFFF"/>
                  </a:solidFill>
                </a:rPr>
                <a:t>Enterprise</a:t>
              </a:r>
            </a:p>
            <a:p>
              <a:pPr algn="ctr" defTabSz="914400"/>
              <a:r>
                <a:rPr lang="en-US" sz="1000" b="1" dirty="0">
                  <a:solidFill>
                    <a:srgbClr val="FFFFFF"/>
                  </a:solidFill>
                </a:rPr>
                <a:t>Group</a:t>
              </a:r>
            </a:p>
          </p:txBody>
        </p:sp>
        <p:cxnSp>
          <p:nvCxnSpPr>
            <p:cNvPr id="53" name="Straight Connector 52">
              <a:extLst>
                <a:ext uri="{FF2B5EF4-FFF2-40B4-BE49-F238E27FC236}">
                  <a16:creationId xmlns:a16="http://schemas.microsoft.com/office/drawing/2014/main" id="{345ED42F-2060-47E1-9771-BF71F2B76D95}"/>
                </a:ext>
              </a:extLst>
            </p:cNvPr>
            <p:cNvCxnSpPr>
              <a:cxnSpLocks/>
            </p:cNvCxnSpPr>
            <p:nvPr/>
          </p:nvCxnSpPr>
          <p:spPr>
            <a:xfrm>
              <a:off x="5662692" y="2735403"/>
              <a:ext cx="256969" cy="239831"/>
            </a:xfrm>
            <a:prstGeom prst="line">
              <a:avLst/>
            </a:prstGeom>
            <a:ln w="12700">
              <a:solidFill>
                <a:srgbClr val="094E5D">
                  <a:alpha val="50000"/>
                </a:srgb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094BDB5-02C9-4D6F-A2D0-74108F75BD0E}"/>
                </a:ext>
              </a:extLst>
            </p:cNvPr>
            <p:cNvCxnSpPr>
              <a:cxnSpLocks/>
              <a:stCxn id="52" idx="1"/>
              <a:endCxn id="105" idx="3"/>
            </p:cNvCxnSpPr>
            <p:nvPr/>
          </p:nvCxnSpPr>
          <p:spPr>
            <a:xfrm flipH="1">
              <a:off x="5341485" y="3195381"/>
              <a:ext cx="381326" cy="1709"/>
            </a:xfrm>
            <a:prstGeom prst="line">
              <a:avLst/>
            </a:prstGeom>
            <a:ln w="12700">
              <a:solidFill>
                <a:srgbClr val="094E5D">
                  <a:alpha val="50000"/>
                </a:srgbClr>
              </a:solidFill>
            </a:ln>
          </p:spPr>
          <p:style>
            <a:lnRef idx="1">
              <a:schemeClr val="accent1"/>
            </a:lnRef>
            <a:fillRef idx="0">
              <a:schemeClr val="accent1"/>
            </a:fillRef>
            <a:effectRef idx="0">
              <a:schemeClr val="accent1"/>
            </a:effectRef>
            <a:fontRef idx="minor">
              <a:schemeClr val="tx1"/>
            </a:fontRef>
          </p:style>
        </p:cxnSp>
        <p:sp>
          <p:nvSpPr>
            <p:cNvPr id="68" name="Diamond 67">
              <a:extLst>
                <a:ext uri="{FF2B5EF4-FFF2-40B4-BE49-F238E27FC236}">
                  <a16:creationId xmlns:a16="http://schemas.microsoft.com/office/drawing/2014/main" id="{B65E5226-62D0-40AC-B3C1-B829B2BE58EB}"/>
                </a:ext>
              </a:extLst>
            </p:cNvPr>
            <p:cNvSpPr>
              <a:spLocks noChangeAspect="1"/>
            </p:cNvSpPr>
            <p:nvPr/>
          </p:nvSpPr>
          <p:spPr>
            <a:xfrm>
              <a:off x="4989682" y="3367436"/>
              <a:ext cx="1024814" cy="1083554"/>
            </a:xfrm>
            <a:prstGeom prst="diamond">
              <a:avLst/>
            </a:prstGeom>
            <a:solidFill>
              <a:srgbClr val="094E5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Aft>
                  <a:spcPts val="0"/>
                </a:spcAft>
                <a:buClrTx/>
                <a:buSzTx/>
                <a:buFontTx/>
                <a:buNone/>
                <a:tabLst/>
                <a:defRPr/>
              </a:pPr>
              <a:r>
                <a:rPr lang="en-US" sz="1000" b="1" dirty="0">
                  <a:solidFill>
                    <a:srgbClr val="FFFFFF"/>
                  </a:solidFill>
                </a:rPr>
                <a:t>Asset</a:t>
              </a:r>
              <a:endParaRPr kumimoji="0" lang="en-US" sz="1000" b="1" i="0" u="none" strike="noStrike" kern="1200" cap="none" spc="0" normalizeH="0" baseline="0" noProof="0" dirty="0">
                <a:ln>
                  <a:noFill/>
                </a:ln>
                <a:solidFill>
                  <a:srgbClr val="FFFFFF"/>
                </a:solidFill>
                <a:effectLst/>
                <a:uLnTx/>
                <a:uFillTx/>
                <a:ea typeface="+mn-ea"/>
                <a:cs typeface="+mn-cs"/>
              </a:endParaRPr>
            </a:p>
          </p:txBody>
        </p:sp>
        <p:sp>
          <p:nvSpPr>
            <p:cNvPr id="42" name="Diamond 41">
              <a:extLst>
                <a:ext uri="{FF2B5EF4-FFF2-40B4-BE49-F238E27FC236}">
                  <a16:creationId xmlns:a16="http://schemas.microsoft.com/office/drawing/2014/main" id="{2C7CFC44-0FFF-43B5-8977-D33F35782242}"/>
                </a:ext>
              </a:extLst>
            </p:cNvPr>
            <p:cNvSpPr/>
            <p:nvPr/>
          </p:nvSpPr>
          <p:spPr>
            <a:xfrm>
              <a:off x="1773739" y="1354790"/>
              <a:ext cx="815166" cy="831961"/>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defTabSz="914400">
                <a:spcBef>
                  <a:spcPts val="900"/>
                </a:spcBef>
              </a:pPr>
              <a:r>
                <a:rPr lang="en-US" sz="1000" b="1" dirty="0">
                  <a:solidFill>
                    <a:srgbClr val="FFFFFF"/>
                  </a:solidFill>
                </a:rPr>
                <a:t>Vendor</a:t>
              </a:r>
            </a:p>
          </p:txBody>
        </p:sp>
        <p:sp>
          <p:nvSpPr>
            <p:cNvPr id="44" name="Diamond 43">
              <a:extLst>
                <a:ext uri="{FF2B5EF4-FFF2-40B4-BE49-F238E27FC236}">
                  <a16:creationId xmlns:a16="http://schemas.microsoft.com/office/drawing/2014/main" id="{046EA6E0-9CA7-45EB-AABC-404CC314F49A}"/>
                </a:ext>
              </a:extLst>
            </p:cNvPr>
            <p:cNvSpPr>
              <a:spLocks noChangeAspect="1"/>
            </p:cNvSpPr>
            <p:nvPr/>
          </p:nvSpPr>
          <p:spPr>
            <a:xfrm>
              <a:off x="2888843" y="2646860"/>
              <a:ext cx="1024814" cy="1083554"/>
            </a:xfrm>
            <a:prstGeom prst="diamond">
              <a:avLst/>
            </a:prstGeom>
            <a:solidFill>
              <a:srgbClr val="094E5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Aft>
                  <a:spcPts val="0"/>
                </a:spcAft>
                <a:buClrTx/>
                <a:buSzTx/>
                <a:buFontTx/>
                <a:buNone/>
                <a:tabLst/>
                <a:defRPr/>
              </a:pPr>
              <a:r>
                <a:rPr lang="en-US" sz="1000" b="1" dirty="0">
                  <a:solidFill>
                    <a:srgbClr val="FFFFFF"/>
                  </a:solidFill>
                </a:rPr>
                <a:t>SaaS Usage</a:t>
              </a:r>
              <a:endParaRPr kumimoji="0" lang="en-US" sz="1000" b="1" i="0" u="none" strike="noStrike" kern="1200" cap="none" spc="0" normalizeH="0" baseline="0" noProof="0" dirty="0">
                <a:ln>
                  <a:noFill/>
                </a:ln>
                <a:solidFill>
                  <a:srgbClr val="FFFFFF"/>
                </a:solidFill>
                <a:effectLst/>
                <a:uLnTx/>
                <a:uFillTx/>
                <a:ea typeface="+mn-ea"/>
                <a:cs typeface="+mn-cs"/>
              </a:endParaRPr>
            </a:p>
          </p:txBody>
        </p:sp>
        <p:cxnSp>
          <p:nvCxnSpPr>
            <p:cNvPr id="47" name="Straight Connector 46">
              <a:extLst>
                <a:ext uri="{FF2B5EF4-FFF2-40B4-BE49-F238E27FC236}">
                  <a16:creationId xmlns:a16="http://schemas.microsoft.com/office/drawing/2014/main" id="{565686DE-FAB1-4854-A9C4-B492AA205D6E}"/>
                </a:ext>
              </a:extLst>
            </p:cNvPr>
            <p:cNvCxnSpPr>
              <a:cxnSpLocks/>
            </p:cNvCxnSpPr>
            <p:nvPr/>
          </p:nvCxnSpPr>
          <p:spPr>
            <a:xfrm flipH="1">
              <a:off x="2541556" y="1763674"/>
              <a:ext cx="381326" cy="1709"/>
            </a:xfrm>
            <a:prstGeom prst="line">
              <a:avLst/>
            </a:prstGeom>
            <a:ln w="12700">
              <a:solidFill>
                <a:srgbClr val="094E5D">
                  <a:alpha val="50000"/>
                </a:srgbClr>
              </a:solidFill>
            </a:ln>
          </p:spPr>
          <p:style>
            <a:lnRef idx="1">
              <a:schemeClr val="accent1"/>
            </a:lnRef>
            <a:fillRef idx="0">
              <a:schemeClr val="accent1"/>
            </a:fillRef>
            <a:effectRef idx="0">
              <a:schemeClr val="accent1"/>
            </a:effectRef>
            <a:fontRef idx="minor">
              <a:schemeClr val="tx1"/>
            </a:fontRef>
          </p:style>
        </p:cxnSp>
        <p:sp>
          <p:nvSpPr>
            <p:cNvPr id="49" name="Arrow: Right 48">
              <a:extLst>
                <a:ext uri="{FF2B5EF4-FFF2-40B4-BE49-F238E27FC236}">
                  <a16:creationId xmlns:a16="http://schemas.microsoft.com/office/drawing/2014/main" id="{0F88C2ED-F0B6-42DD-B0AD-F724A93E274E}"/>
                </a:ext>
              </a:extLst>
            </p:cNvPr>
            <p:cNvSpPr>
              <a:spLocks noChangeAspect="1"/>
            </p:cNvSpPr>
            <p:nvPr/>
          </p:nvSpPr>
          <p:spPr>
            <a:xfrm>
              <a:off x="1298575" y="1364200"/>
              <a:ext cx="634309" cy="353269"/>
            </a:xfrm>
            <a:prstGeom prst="rightArrow">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AU" sz="2000" b="1"/>
            </a:p>
          </p:txBody>
        </p:sp>
        <p:cxnSp>
          <p:nvCxnSpPr>
            <p:cNvPr id="50" name="Straight Connector 49">
              <a:extLst>
                <a:ext uri="{FF2B5EF4-FFF2-40B4-BE49-F238E27FC236}">
                  <a16:creationId xmlns:a16="http://schemas.microsoft.com/office/drawing/2014/main" id="{8BD90013-2585-4D85-8A27-BEEEB34BEDEA}"/>
                </a:ext>
              </a:extLst>
            </p:cNvPr>
            <p:cNvCxnSpPr>
              <a:cxnSpLocks/>
            </p:cNvCxnSpPr>
            <p:nvPr/>
          </p:nvCxnSpPr>
          <p:spPr>
            <a:xfrm>
              <a:off x="2318050" y="2018563"/>
              <a:ext cx="256969" cy="239831"/>
            </a:xfrm>
            <a:prstGeom prst="line">
              <a:avLst/>
            </a:prstGeom>
            <a:ln w="12700">
              <a:solidFill>
                <a:srgbClr val="094E5D">
                  <a:alpha val="50000"/>
                </a:srgbClr>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4243F6E6-33DC-4826-9892-179435B38E86}"/>
                </a:ext>
              </a:extLst>
            </p:cNvPr>
            <p:cNvSpPr/>
            <p:nvPr/>
          </p:nvSpPr>
          <p:spPr>
            <a:xfrm>
              <a:off x="804367" y="1005477"/>
              <a:ext cx="1043371" cy="389926"/>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050" b="1" i="0" u="none" strike="noStrike" kern="1200" cap="none" spc="0" normalizeH="0" baseline="0" noProof="0" dirty="0">
                  <a:ln>
                    <a:noFill/>
                  </a:ln>
                  <a:solidFill>
                    <a:srgbClr val="094E5D"/>
                  </a:solidFill>
                  <a:effectLst/>
                  <a:uLnTx/>
                  <a:uFillTx/>
                  <a:ea typeface="+mn-ea"/>
                  <a:cs typeface="+mn-cs"/>
                </a:rPr>
                <a:t>Vendor data sources</a:t>
              </a:r>
            </a:p>
          </p:txBody>
        </p:sp>
        <p:sp>
          <p:nvSpPr>
            <p:cNvPr id="54" name="Arrow: Right 53">
              <a:extLst>
                <a:ext uri="{FF2B5EF4-FFF2-40B4-BE49-F238E27FC236}">
                  <a16:creationId xmlns:a16="http://schemas.microsoft.com/office/drawing/2014/main" id="{0D4F79ED-0C67-4ABB-99B6-79C6998C2819}"/>
                </a:ext>
              </a:extLst>
            </p:cNvPr>
            <p:cNvSpPr>
              <a:spLocks noChangeAspect="1"/>
            </p:cNvSpPr>
            <p:nvPr/>
          </p:nvSpPr>
          <p:spPr>
            <a:xfrm rot="5400000">
              <a:off x="3972687" y="1156643"/>
              <a:ext cx="666517" cy="345792"/>
            </a:xfrm>
            <a:prstGeom prst="rightArrow">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AU" sz="2000" b="1"/>
            </a:p>
          </p:txBody>
        </p:sp>
      </p:grpSp>
    </p:spTree>
    <p:extLst>
      <p:ext uri="{BB962C8B-B14F-4D97-AF65-F5344CB8AC3E}">
        <p14:creationId xmlns:p14="http://schemas.microsoft.com/office/powerpoint/2010/main" val="426658946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01151683-B0B7-4BB4-97F1-BF80690CBE1B}"/>
              </a:ext>
            </a:extLst>
          </p:cNvPr>
          <p:cNvSpPr txBox="1">
            <a:spLocks/>
          </p:cNvSpPr>
          <p:nvPr/>
        </p:nvSpPr>
        <p:spPr bwMode="gray">
          <a:xfrm>
            <a:off x="142796" y="-94575"/>
            <a:ext cx="8749475" cy="491495"/>
          </a:xfrm>
          <a:prstGeom prst="rect">
            <a:avLst/>
          </a:prstGeom>
          <a:noFill/>
          <a:ln>
            <a:noFill/>
          </a:ln>
        </p:spPr>
        <p:txBody>
          <a:bodyPr vert="horz" lIns="68526" tIns="0" rIns="68526" bIns="0" rtlCol="0" anchor="b" anchorCtr="0">
            <a:noAutofit/>
          </a:bodyPr>
          <a:lstStyle>
            <a:lvl1pPr algn="l" defTabSz="457200" rtl="0" eaLnBrk="1" latinLnBrk="0" hangingPunct="1">
              <a:lnSpc>
                <a:spcPct val="85000"/>
              </a:lnSpc>
              <a:spcBef>
                <a:spcPts val="0"/>
              </a:spcBef>
              <a:buNone/>
              <a:defRPr lang="en-US" sz="3200" b="0" kern="1200" dirty="0" smtClean="0">
                <a:solidFill>
                  <a:schemeClr val="tx1"/>
                </a:solidFill>
                <a:latin typeface="+mj-lt"/>
                <a:ea typeface="+mj-ea"/>
                <a:cs typeface="+mj-cs"/>
              </a:defRPr>
            </a:lvl1pPr>
          </a:lstStyle>
          <a:p>
            <a:pPr marL="0" marR="0" lvl="0" indent="0" algn="l" defTabSz="342900" rtl="0" eaLnBrk="1" fontAlgn="auto" latinLnBrk="0" hangingPunct="1">
              <a:lnSpc>
                <a:spcPct val="85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3E40"/>
                </a:solidFill>
                <a:effectLst/>
                <a:uLnTx/>
                <a:uFillTx/>
                <a:latin typeface="+mn-lt"/>
                <a:ea typeface="MS PGothic" charset="0"/>
                <a:cs typeface="+mj-cs"/>
              </a:rPr>
              <a:t>SAM Services Architecture</a:t>
            </a:r>
          </a:p>
        </p:txBody>
      </p:sp>
      <p:grpSp>
        <p:nvGrpSpPr>
          <p:cNvPr id="2" name="Group 1">
            <a:extLst>
              <a:ext uri="{FF2B5EF4-FFF2-40B4-BE49-F238E27FC236}">
                <a16:creationId xmlns:a16="http://schemas.microsoft.com/office/drawing/2014/main" id="{A9FA53A8-C81A-4151-BF2D-4505A91F63FF}"/>
              </a:ext>
            </a:extLst>
          </p:cNvPr>
          <p:cNvGrpSpPr/>
          <p:nvPr/>
        </p:nvGrpSpPr>
        <p:grpSpPr>
          <a:xfrm>
            <a:off x="904766" y="1384073"/>
            <a:ext cx="5068510" cy="2736273"/>
            <a:chOff x="902799" y="1336963"/>
            <a:chExt cx="5068510" cy="2736273"/>
          </a:xfrm>
        </p:grpSpPr>
        <p:pic>
          <p:nvPicPr>
            <p:cNvPr id="5" name="Picture 4">
              <a:extLst>
                <a:ext uri="{FF2B5EF4-FFF2-40B4-BE49-F238E27FC236}">
                  <a16:creationId xmlns:a16="http://schemas.microsoft.com/office/drawing/2014/main" id="{0CF9297A-0DB8-448F-A77D-ACE86F471BDE}"/>
                </a:ext>
              </a:extLst>
            </p:cNvPr>
            <p:cNvPicPr>
              <a:picLocks noChangeAspect="1"/>
            </p:cNvPicPr>
            <p:nvPr/>
          </p:nvPicPr>
          <p:blipFill>
            <a:blip r:embed="rId3"/>
            <a:stretch>
              <a:fillRect/>
            </a:stretch>
          </p:blipFill>
          <p:spPr>
            <a:xfrm>
              <a:off x="1561463" y="1601197"/>
              <a:ext cx="3960146" cy="2346350"/>
            </a:xfrm>
            <a:prstGeom prst="rect">
              <a:avLst/>
            </a:prstGeom>
          </p:spPr>
        </p:pic>
        <p:sp>
          <p:nvSpPr>
            <p:cNvPr id="4" name="Oval 3">
              <a:extLst>
                <a:ext uri="{FF2B5EF4-FFF2-40B4-BE49-F238E27FC236}">
                  <a16:creationId xmlns:a16="http://schemas.microsoft.com/office/drawing/2014/main" id="{DBD3DC8F-1A51-426C-AF43-9387657BF9E0}"/>
                </a:ext>
              </a:extLst>
            </p:cNvPr>
            <p:cNvSpPr/>
            <p:nvPr/>
          </p:nvSpPr>
          <p:spPr>
            <a:xfrm>
              <a:off x="902799" y="1336963"/>
              <a:ext cx="5068510" cy="2736273"/>
            </a:xfrm>
            <a:prstGeom prst="ellipse">
              <a:avLst/>
            </a:prstGeom>
            <a:solidFill>
              <a:srgbClr val="C9BFB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6" name="Rectangle 5">
              <a:extLst>
                <a:ext uri="{FF2B5EF4-FFF2-40B4-BE49-F238E27FC236}">
                  <a16:creationId xmlns:a16="http://schemas.microsoft.com/office/drawing/2014/main" id="{746577F4-5B5C-430B-824E-3971DA5B460D}"/>
                </a:ext>
              </a:extLst>
            </p:cNvPr>
            <p:cNvSpPr/>
            <p:nvPr/>
          </p:nvSpPr>
          <p:spPr>
            <a:xfrm>
              <a:off x="4313451" y="1601197"/>
              <a:ext cx="1043371" cy="389926"/>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chemeClr val="accent1"/>
                  </a:solidFill>
                  <a:effectLst/>
                  <a:uLnTx/>
                  <a:uFillTx/>
                  <a:ea typeface="+mn-ea"/>
                  <a:cs typeface="+mn-cs"/>
                </a:rPr>
                <a:t>SAM Systems</a:t>
              </a:r>
            </a:p>
          </p:txBody>
        </p:sp>
      </p:grpSp>
      <p:grpSp>
        <p:nvGrpSpPr>
          <p:cNvPr id="3" name="Group 2">
            <a:extLst>
              <a:ext uri="{FF2B5EF4-FFF2-40B4-BE49-F238E27FC236}">
                <a16:creationId xmlns:a16="http://schemas.microsoft.com/office/drawing/2014/main" id="{7D77ACA4-5F3A-4119-BFEB-EDC660F7ABB1}"/>
              </a:ext>
            </a:extLst>
          </p:cNvPr>
          <p:cNvGrpSpPr/>
          <p:nvPr/>
        </p:nvGrpSpPr>
        <p:grpSpPr>
          <a:xfrm>
            <a:off x="81978" y="3435916"/>
            <a:ext cx="1294256" cy="896386"/>
            <a:chOff x="330613" y="3576939"/>
            <a:chExt cx="1294256" cy="896386"/>
          </a:xfrm>
        </p:grpSpPr>
        <p:sp>
          <p:nvSpPr>
            <p:cNvPr id="7" name="Oval 6">
              <a:extLst>
                <a:ext uri="{FF2B5EF4-FFF2-40B4-BE49-F238E27FC236}">
                  <a16:creationId xmlns:a16="http://schemas.microsoft.com/office/drawing/2014/main" id="{09DCFDA4-1F4C-44CB-BF6A-50C4D834F973}"/>
                </a:ext>
              </a:extLst>
            </p:cNvPr>
            <p:cNvSpPr/>
            <p:nvPr/>
          </p:nvSpPr>
          <p:spPr>
            <a:xfrm>
              <a:off x="330613" y="3576939"/>
              <a:ext cx="1294256" cy="896386"/>
            </a:xfrm>
            <a:prstGeom prst="ellipse">
              <a:avLst/>
            </a:prstGeom>
            <a:solidFill>
              <a:srgbClr val="C9BFB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8" name="Rectangle 7">
              <a:extLst>
                <a:ext uri="{FF2B5EF4-FFF2-40B4-BE49-F238E27FC236}">
                  <a16:creationId xmlns:a16="http://schemas.microsoft.com/office/drawing/2014/main" id="{2AB46548-3458-4D02-AD74-9452610FD861}"/>
                </a:ext>
              </a:extLst>
            </p:cNvPr>
            <p:cNvSpPr/>
            <p:nvPr/>
          </p:nvSpPr>
          <p:spPr>
            <a:xfrm>
              <a:off x="453767" y="3839163"/>
              <a:ext cx="1107696" cy="417983"/>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rgbClr val="094E5D"/>
                  </a:solidFill>
                  <a:effectLst/>
                  <a:uLnTx/>
                  <a:uFillTx/>
                  <a:ea typeface="+mn-ea"/>
                  <a:cs typeface="+mn-cs"/>
                </a:rPr>
                <a:t>EUC Network &amp; Systems</a:t>
              </a:r>
            </a:p>
          </p:txBody>
        </p:sp>
      </p:grpSp>
      <p:grpSp>
        <p:nvGrpSpPr>
          <p:cNvPr id="11" name="Group 10">
            <a:extLst>
              <a:ext uri="{FF2B5EF4-FFF2-40B4-BE49-F238E27FC236}">
                <a16:creationId xmlns:a16="http://schemas.microsoft.com/office/drawing/2014/main" id="{D4A07E71-91DC-4076-89D2-1CB806204E64}"/>
              </a:ext>
            </a:extLst>
          </p:cNvPr>
          <p:cNvGrpSpPr/>
          <p:nvPr/>
        </p:nvGrpSpPr>
        <p:grpSpPr>
          <a:xfrm>
            <a:off x="1357764" y="4101058"/>
            <a:ext cx="1294256" cy="896386"/>
            <a:chOff x="330613" y="3576939"/>
            <a:chExt cx="1294256" cy="896386"/>
          </a:xfrm>
        </p:grpSpPr>
        <p:sp>
          <p:nvSpPr>
            <p:cNvPr id="12" name="Oval 11">
              <a:extLst>
                <a:ext uri="{FF2B5EF4-FFF2-40B4-BE49-F238E27FC236}">
                  <a16:creationId xmlns:a16="http://schemas.microsoft.com/office/drawing/2014/main" id="{C1FA5B34-DA79-4C01-9F7A-FDFB20E73C04}"/>
                </a:ext>
              </a:extLst>
            </p:cNvPr>
            <p:cNvSpPr/>
            <p:nvPr/>
          </p:nvSpPr>
          <p:spPr>
            <a:xfrm>
              <a:off x="330613" y="3576939"/>
              <a:ext cx="1294256" cy="896386"/>
            </a:xfrm>
            <a:prstGeom prst="ellipse">
              <a:avLst/>
            </a:prstGeom>
            <a:solidFill>
              <a:srgbClr val="C9BFB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3" name="Rectangle 12">
              <a:extLst>
                <a:ext uri="{FF2B5EF4-FFF2-40B4-BE49-F238E27FC236}">
                  <a16:creationId xmlns:a16="http://schemas.microsoft.com/office/drawing/2014/main" id="{91B666E6-DA46-4667-B0B7-79EF4451784D}"/>
                </a:ext>
              </a:extLst>
            </p:cNvPr>
            <p:cNvSpPr/>
            <p:nvPr/>
          </p:nvSpPr>
          <p:spPr>
            <a:xfrm>
              <a:off x="453767" y="3839163"/>
              <a:ext cx="1107696" cy="417983"/>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rgbClr val="094E5D"/>
                  </a:solidFill>
                  <a:effectLst/>
                  <a:uLnTx/>
                  <a:uFillTx/>
                  <a:ea typeface="+mn-ea"/>
                  <a:cs typeface="+mn-cs"/>
                </a:rPr>
                <a:t>Data Centre Network &amp; Systems</a:t>
              </a:r>
            </a:p>
          </p:txBody>
        </p:sp>
      </p:grpSp>
      <p:grpSp>
        <p:nvGrpSpPr>
          <p:cNvPr id="10" name="Group 9">
            <a:extLst>
              <a:ext uri="{FF2B5EF4-FFF2-40B4-BE49-F238E27FC236}">
                <a16:creationId xmlns:a16="http://schemas.microsoft.com/office/drawing/2014/main" id="{A99C1DAF-CFCE-4C0A-A6B4-B0BCECCE16CD}"/>
              </a:ext>
            </a:extLst>
          </p:cNvPr>
          <p:cNvGrpSpPr/>
          <p:nvPr/>
        </p:nvGrpSpPr>
        <p:grpSpPr>
          <a:xfrm>
            <a:off x="56330" y="1259391"/>
            <a:ext cx="1299646" cy="896386"/>
            <a:chOff x="4444567" y="520901"/>
            <a:chExt cx="1299646" cy="896386"/>
          </a:xfrm>
        </p:grpSpPr>
        <p:sp>
          <p:nvSpPr>
            <p:cNvPr id="15" name="Oval 14">
              <a:extLst>
                <a:ext uri="{FF2B5EF4-FFF2-40B4-BE49-F238E27FC236}">
                  <a16:creationId xmlns:a16="http://schemas.microsoft.com/office/drawing/2014/main" id="{6B4973B0-4FB9-45B4-BDD2-1475550BE5CD}"/>
                </a:ext>
              </a:extLst>
            </p:cNvPr>
            <p:cNvSpPr/>
            <p:nvPr/>
          </p:nvSpPr>
          <p:spPr>
            <a:xfrm>
              <a:off x="4444567" y="520901"/>
              <a:ext cx="1294256" cy="896386"/>
            </a:xfrm>
            <a:prstGeom prst="ellipse">
              <a:avLst/>
            </a:prstGeom>
            <a:solidFill>
              <a:srgbClr val="C9BFB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6" name="Rectangle 15">
              <a:extLst>
                <a:ext uri="{FF2B5EF4-FFF2-40B4-BE49-F238E27FC236}">
                  <a16:creationId xmlns:a16="http://schemas.microsoft.com/office/drawing/2014/main" id="{3442B01C-44EF-4C3F-B609-734DFAA0986E}"/>
                </a:ext>
              </a:extLst>
            </p:cNvPr>
            <p:cNvSpPr/>
            <p:nvPr/>
          </p:nvSpPr>
          <p:spPr>
            <a:xfrm>
              <a:off x="4636517" y="730501"/>
              <a:ext cx="1107696" cy="417983"/>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rgbClr val="094E5D"/>
                  </a:solidFill>
                  <a:effectLst/>
                  <a:uLnTx/>
                  <a:uFillTx/>
                  <a:ea typeface="+mn-ea"/>
                  <a:cs typeface="+mn-cs"/>
                </a:rPr>
                <a:t>HR &amp;  Procurement Systems</a:t>
              </a:r>
            </a:p>
          </p:txBody>
        </p:sp>
      </p:grpSp>
      <p:grpSp>
        <p:nvGrpSpPr>
          <p:cNvPr id="18" name="Group 17">
            <a:extLst>
              <a:ext uri="{FF2B5EF4-FFF2-40B4-BE49-F238E27FC236}">
                <a16:creationId xmlns:a16="http://schemas.microsoft.com/office/drawing/2014/main" id="{1677E1D9-E3DE-4164-B2AA-DBBC727D3DD0}"/>
              </a:ext>
            </a:extLst>
          </p:cNvPr>
          <p:cNvGrpSpPr/>
          <p:nvPr/>
        </p:nvGrpSpPr>
        <p:grpSpPr>
          <a:xfrm>
            <a:off x="1355282" y="533819"/>
            <a:ext cx="1299646" cy="896386"/>
            <a:chOff x="4444567" y="520901"/>
            <a:chExt cx="1299646" cy="896386"/>
          </a:xfrm>
        </p:grpSpPr>
        <p:sp>
          <p:nvSpPr>
            <p:cNvPr id="19" name="Oval 18">
              <a:extLst>
                <a:ext uri="{FF2B5EF4-FFF2-40B4-BE49-F238E27FC236}">
                  <a16:creationId xmlns:a16="http://schemas.microsoft.com/office/drawing/2014/main" id="{0F6A1AD7-FC33-4C41-9AD3-2A9A04B88F5F}"/>
                </a:ext>
              </a:extLst>
            </p:cNvPr>
            <p:cNvSpPr/>
            <p:nvPr/>
          </p:nvSpPr>
          <p:spPr>
            <a:xfrm>
              <a:off x="4444567" y="520901"/>
              <a:ext cx="1294256" cy="896386"/>
            </a:xfrm>
            <a:prstGeom prst="ellipse">
              <a:avLst/>
            </a:prstGeom>
            <a:solidFill>
              <a:srgbClr val="C9BFB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0" name="Rectangle 19">
              <a:extLst>
                <a:ext uri="{FF2B5EF4-FFF2-40B4-BE49-F238E27FC236}">
                  <a16:creationId xmlns:a16="http://schemas.microsoft.com/office/drawing/2014/main" id="{94388E7E-7B17-4B58-9CD6-592C7FE84F1B}"/>
                </a:ext>
              </a:extLst>
            </p:cNvPr>
            <p:cNvSpPr/>
            <p:nvPr/>
          </p:nvSpPr>
          <p:spPr>
            <a:xfrm>
              <a:off x="4636517" y="730501"/>
              <a:ext cx="1107696" cy="417983"/>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rgbClr val="094E5D"/>
                  </a:solidFill>
                  <a:effectLst/>
                  <a:uLnTx/>
                  <a:uFillTx/>
                  <a:ea typeface="+mn-ea"/>
                  <a:cs typeface="+mn-cs"/>
                </a:rPr>
                <a:t>CMDB &amp; Service Mgmt Systems</a:t>
              </a:r>
            </a:p>
          </p:txBody>
        </p:sp>
      </p:grpSp>
      <p:sp>
        <p:nvSpPr>
          <p:cNvPr id="17" name="Arrow: Right 16">
            <a:extLst>
              <a:ext uri="{FF2B5EF4-FFF2-40B4-BE49-F238E27FC236}">
                <a16:creationId xmlns:a16="http://schemas.microsoft.com/office/drawing/2014/main" id="{E0516CAC-79DF-4411-8526-5B9DDB12D076}"/>
              </a:ext>
            </a:extLst>
          </p:cNvPr>
          <p:cNvSpPr/>
          <p:nvPr/>
        </p:nvSpPr>
        <p:spPr>
          <a:xfrm rot="4035451">
            <a:off x="2037982" y="1396192"/>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Arrow: Right 25">
            <a:extLst>
              <a:ext uri="{FF2B5EF4-FFF2-40B4-BE49-F238E27FC236}">
                <a16:creationId xmlns:a16="http://schemas.microsoft.com/office/drawing/2014/main" id="{8D0E57D5-5527-411B-88A3-49BDCD78338F}"/>
              </a:ext>
            </a:extLst>
          </p:cNvPr>
          <p:cNvSpPr/>
          <p:nvPr/>
        </p:nvSpPr>
        <p:spPr>
          <a:xfrm rot="14907253">
            <a:off x="2240885" y="1299010"/>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7" name="Arrow: Right 26">
            <a:extLst>
              <a:ext uri="{FF2B5EF4-FFF2-40B4-BE49-F238E27FC236}">
                <a16:creationId xmlns:a16="http://schemas.microsoft.com/office/drawing/2014/main" id="{8E869D07-840F-4D2B-B9B9-EE7A0F4BF118}"/>
              </a:ext>
            </a:extLst>
          </p:cNvPr>
          <p:cNvSpPr/>
          <p:nvPr/>
        </p:nvSpPr>
        <p:spPr>
          <a:xfrm rot="2187836">
            <a:off x="1180906" y="1880079"/>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8" name="Arrow: Right 27">
            <a:extLst>
              <a:ext uri="{FF2B5EF4-FFF2-40B4-BE49-F238E27FC236}">
                <a16:creationId xmlns:a16="http://schemas.microsoft.com/office/drawing/2014/main" id="{67095364-5062-4064-A230-C0411929965F}"/>
              </a:ext>
            </a:extLst>
          </p:cNvPr>
          <p:cNvSpPr/>
          <p:nvPr/>
        </p:nvSpPr>
        <p:spPr>
          <a:xfrm rot="19623800">
            <a:off x="1184279" y="3445507"/>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Arrow: Right 28">
            <a:extLst>
              <a:ext uri="{FF2B5EF4-FFF2-40B4-BE49-F238E27FC236}">
                <a16:creationId xmlns:a16="http://schemas.microsoft.com/office/drawing/2014/main" id="{CBF52466-2B09-44AB-AC86-1B2764F853B1}"/>
              </a:ext>
            </a:extLst>
          </p:cNvPr>
          <p:cNvSpPr/>
          <p:nvPr/>
        </p:nvSpPr>
        <p:spPr>
          <a:xfrm rot="16200000">
            <a:off x="3433769" y="4022787"/>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30" name="Group 29">
            <a:extLst>
              <a:ext uri="{FF2B5EF4-FFF2-40B4-BE49-F238E27FC236}">
                <a16:creationId xmlns:a16="http://schemas.microsoft.com/office/drawing/2014/main" id="{DC1CAE74-48F7-44BC-9CEE-866F1A54366B}"/>
              </a:ext>
            </a:extLst>
          </p:cNvPr>
          <p:cNvGrpSpPr/>
          <p:nvPr/>
        </p:nvGrpSpPr>
        <p:grpSpPr>
          <a:xfrm>
            <a:off x="2848027" y="4211781"/>
            <a:ext cx="1294256" cy="896386"/>
            <a:chOff x="330613" y="3576939"/>
            <a:chExt cx="1294256" cy="896386"/>
          </a:xfrm>
        </p:grpSpPr>
        <p:sp>
          <p:nvSpPr>
            <p:cNvPr id="31" name="Oval 30">
              <a:extLst>
                <a:ext uri="{FF2B5EF4-FFF2-40B4-BE49-F238E27FC236}">
                  <a16:creationId xmlns:a16="http://schemas.microsoft.com/office/drawing/2014/main" id="{37459E38-0CD9-463F-8A68-272BAFB6F6C6}"/>
                </a:ext>
              </a:extLst>
            </p:cNvPr>
            <p:cNvSpPr/>
            <p:nvPr/>
          </p:nvSpPr>
          <p:spPr>
            <a:xfrm>
              <a:off x="330613" y="3576939"/>
              <a:ext cx="1294256" cy="896386"/>
            </a:xfrm>
            <a:prstGeom prst="ellipse">
              <a:avLst/>
            </a:prstGeom>
            <a:solidFill>
              <a:srgbClr val="C9BFB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2" name="Rectangle 31">
              <a:extLst>
                <a:ext uri="{FF2B5EF4-FFF2-40B4-BE49-F238E27FC236}">
                  <a16:creationId xmlns:a16="http://schemas.microsoft.com/office/drawing/2014/main" id="{E157AD22-3B3A-4EF1-BB31-BFFAA99EDE06}"/>
                </a:ext>
              </a:extLst>
            </p:cNvPr>
            <p:cNvSpPr/>
            <p:nvPr/>
          </p:nvSpPr>
          <p:spPr>
            <a:xfrm>
              <a:off x="453767" y="3839163"/>
              <a:ext cx="1171102" cy="417983"/>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rgbClr val="094E5D"/>
                  </a:solidFill>
                  <a:effectLst/>
                  <a:uLnTx/>
                  <a:uFillTx/>
                  <a:ea typeface="+mn-ea"/>
                  <a:cs typeface="+mn-cs"/>
                </a:rPr>
                <a:t>Cloud SaaS &amp; Iaa</a:t>
              </a:r>
              <a:r>
                <a:rPr lang="en-US" sz="1200" b="1" dirty="0">
                  <a:solidFill>
                    <a:srgbClr val="094E5D"/>
                  </a:solidFill>
                </a:rPr>
                <a:t>S</a:t>
              </a:r>
              <a:r>
                <a:rPr kumimoji="0" lang="en-US" sz="1200" b="1" i="0" u="none" strike="noStrike" kern="1200" cap="none" spc="0" normalizeH="0" baseline="0" noProof="0" dirty="0">
                  <a:ln>
                    <a:noFill/>
                  </a:ln>
                  <a:solidFill>
                    <a:srgbClr val="094E5D"/>
                  </a:solidFill>
                  <a:effectLst/>
                  <a:uLnTx/>
                  <a:uFillTx/>
                  <a:ea typeface="+mn-ea"/>
                  <a:cs typeface="+mn-cs"/>
                </a:rPr>
                <a:t> Networks &amp; Systems</a:t>
              </a:r>
            </a:p>
          </p:txBody>
        </p:sp>
      </p:grpSp>
      <p:sp>
        <p:nvSpPr>
          <p:cNvPr id="33" name="Arrow: Right 32">
            <a:extLst>
              <a:ext uri="{FF2B5EF4-FFF2-40B4-BE49-F238E27FC236}">
                <a16:creationId xmlns:a16="http://schemas.microsoft.com/office/drawing/2014/main" id="{430D760F-5F8C-49CE-8385-F5468D5F0A52}"/>
              </a:ext>
            </a:extLst>
          </p:cNvPr>
          <p:cNvSpPr/>
          <p:nvPr/>
        </p:nvSpPr>
        <p:spPr>
          <a:xfrm rot="18380295">
            <a:off x="2227667" y="3952497"/>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35" name="Group 34">
            <a:extLst>
              <a:ext uri="{FF2B5EF4-FFF2-40B4-BE49-F238E27FC236}">
                <a16:creationId xmlns:a16="http://schemas.microsoft.com/office/drawing/2014/main" id="{0C5BA981-B7B8-4A18-9B96-8F3026F704BD}"/>
              </a:ext>
            </a:extLst>
          </p:cNvPr>
          <p:cNvGrpSpPr/>
          <p:nvPr/>
        </p:nvGrpSpPr>
        <p:grpSpPr>
          <a:xfrm>
            <a:off x="4656545" y="3952213"/>
            <a:ext cx="1365399" cy="896386"/>
            <a:chOff x="4378814" y="589005"/>
            <a:chExt cx="1365399" cy="896386"/>
          </a:xfrm>
        </p:grpSpPr>
        <p:sp>
          <p:nvSpPr>
            <p:cNvPr id="36" name="Oval 35">
              <a:extLst>
                <a:ext uri="{FF2B5EF4-FFF2-40B4-BE49-F238E27FC236}">
                  <a16:creationId xmlns:a16="http://schemas.microsoft.com/office/drawing/2014/main" id="{E15871FC-3CBC-42A4-B377-B5CC9F5BC231}"/>
                </a:ext>
              </a:extLst>
            </p:cNvPr>
            <p:cNvSpPr/>
            <p:nvPr/>
          </p:nvSpPr>
          <p:spPr>
            <a:xfrm>
              <a:off x="4378814" y="589005"/>
              <a:ext cx="1294256" cy="896386"/>
            </a:xfrm>
            <a:prstGeom prst="ellipse">
              <a:avLst/>
            </a:prstGeom>
            <a:solidFill>
              <a:srgbClr val="C9BFB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7" name="Rectangle 36">
              <a:extLst>
                <a:ext uri="{FF2B5EF4-FFF2-40B4-BE49-F238E27FC236}">
                  <a16:creationId xmlns:a16="http://schemas.microsoft.com/office/drawing/2014/main" id="{1CDA8478-CB22-44CF-BFD8-F36F83B76BF6}"/>
                </a:ext>
              </a:extLst>
            </p:cNvPr>
            <p:cNvSpPr/>
            <p:nvPr/>
          </p:nvSpPr>
          <p:spPr>
            <a:xfrm>
              <a:off x="4636517" y="730501"/>
              <a:ext cx="1107696" cy="417983"/>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rgbClr val="094E5D"/>
                  </a:solidFill>
                  <a:effectLst/>
                  <a:uLnTx/>
                  <a:uFillTx/>
                  <a:ea typeface="+mn-ea"/>
                  <a:cs typeface="+mn-cs"/>
                </a:rPr>
                <a:t>Software Deployment Systems</a:t>
              </a:r>
            </a:p>
          </p:txBody>
        </p:sp>
      </p:grpSp>
      <p:grpSp>
        <p:nvGrpSpPr>
          <p:cNvPr id="38" name="Group 37">
            <a:extLst>
              <a:ext uri="{FF2B5EF4-FFF2-40B4-BE49-F238E27FC236}">
                <a16:creationId xmlns:a16="http://schemas.microsoft.com/office/drawing/2014/main" id="{A0BFE294-C69C-4F56-B00F-DB0545AD782C}"/>
              </a:ext>
            </a:extLst>
          </p:cNvPr>
          <p:cNvGrpSpPr/>
          <p:nvPr/>
        </p:nvGrpSpPr>
        <p:grpSpPr>
          <a:xfrm>
            <a:off x="5813636" y="3147797"/>
            <a:ext cx="1299646" cy="896386"/>
            <a:chOff x="4444567" y="520901"/>
            <a:chExt cx="1299646" cy="896386"/>
          </a:xfrm>
        </p:grpSpPr>
        <p:sp>
          <p:nvSpPr>
            <p:cNvPr id="39" name="Oval 38">
              <a:extLst>
                <a:ext uri="{FF2B5EF4-FFF2-40B4-BE49-F238E27FC236}">
                  <a16:creationId xmlns:a16="http://schemas.microsoft.com/office/drawing/2014/main" id="{35BB33EC-54D0-457A-B8D9-EF67BF9DA015}"/>
                </a:ext>
              </a:extLst>
            </p:cNvPr>
            <p:cNvSpPr/>
            <p:nvPr/>
          </p:nvSpPr>
          <p:spPr>
            <a:xfrm>
              <a:off x="4444567" y="520901"/>
              <a:ext cx="1294256" cy="896386"/>
            </a:xfrm>
            <a:prstGeom prst="ellipse">
              <a:avLst/>
            </a:prstGeom>
            <a:solidFill>
              <a:srgbClr val="C9BFB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40" name="Rectangle 39">
              <a:extLst>
                <a:ext uri="{FF2B5EF4-FFF2-40B4-BE49-F238E27FC236}">
                  <a16:creationId xmlns:a16="http://schemas.microsoft.com/office/drawing/2014/main" id="{31277FF1-5C51-45B1-8D8C-FF8E87ECF3D0}"/>
                </a:ext>
              </a:extLst>
            </p:cNvPr>
            <p:cNvSpPr/>
            <p:nvPr/>
          </p:nvSpPr>
          <p:spPr>
            <a:xfrm>
              <a:off x="4636517" y="730501"/>
              <a:ext cx="1107696" cy="417983"/>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rgbClr val="094E5D"/>
                  </a:solidFill>
                  <a:effectLst/>
                  <a:uLnTx/>
                  <a:uFillTx/>
                  <a:ea typeface="+mn-ea"/>
                  <a:cs typeface="+mn-cs"/>
                </a:rPr>
                <a:t>Software Request System</a:t>
              </a:r>
            </a:p>
          </p:txBody>
        </p:sp>
      </p:grpSp>
      <p:sp>
        <p:nvSpPr>
          <p:cNvPr id="41" name="Arrow: Right 40">
            <a:extLst>
              <a:ext uri="{FF2B5EF4-FFF2-40B4-BE49-F238E27FC236}">
                <a16:creationId xmlns:a16="http://schemas.microsoft.com/office/drawing/2014/main" id="{F624927C-AEF8-4291-B734-FD84C852A04F}"/>
              </a:ext>
            </a:extLst>
          </p:cNvPr>
          <p:cNvSpPr/>
          <p:nvPr/>
        </p:nvSpPr>
        <p:spPr>
          <a:xfrm rot="14151971">
            <a:off x="4872418" y="3804103"/>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2" name="Arrow: Right 41">
            <a:extLst>
              <a:ext uri="{FF2B5EF4-FFF2-40B4-BE49-F238E27FC236}">
                <a16:creationId xmlns:a16="http://schemas.microsoft.com/office/drawing/2014/main" id="{2E960210-8607-47E7-A940-3374C40664DD}"/>
              </a:ext>
            </a:extLst>
          </p:cNvPr>
          <p:cNvSpPr/>
          <p:nvPr/>
        </p:nvSpPr>
        <p:spPr>
          <a:xfrm rot="8240028">
            <a:off x="5838608" y="3907824"/>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3" name="Arrow: Right 42">
            <a:extLst>
              <a:ext uri="{FF2B5EF4-FFF2-40B4-BE49-F238E27FC236}">
                <a16:creationId xmlns:a16="http://schemas.microsoft.com/office/drawing/2014/main" id="{9E1B3DE3-F00A-4FE3-92ED-8CD39A9E2408}"/>
              </a:ext>
            </a:extLst>
          </p:cNvPr>
          <p:cNvSpPr/>
          <p:nvPr/>
        </p:nvSpPr>
        <p:spPr>
          <a:xfrm rot="1760394">
            <a:off x="5674727" y="3360689"/>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Arrow: Right 43">
            <a:extLst>
              <a:ext uri="{FF2B5EF4-FFF2-40B4-BE49-F238E27FC236}">
                <a16:creationId xmlns:a16="http://schemas.microsoft.com/office/drawing/2014/main" id="{81B10558-BCBB-4572-B59C-FC73C2B22B59}"/>
              </a:ext>
            </a:extLst>
          </p:cNvPr>
          <p:cNvSpPr/>
          <p:nvPr/>
        </p:nvSpPr>
        <p:spPr>
          <a:xfrm rot="12632634">
            <a:off x="5762404" y="3191187"/>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5" name="Picture 44" descr="A picture containing drawing&#10;&#10;Description automatically generated">
            <a:extLst>
              <a:ext uri="{FF2B5EF4-FFF2-40B4-BE49-F238E27FC236}">
                <a16:creationId xmlns:a16="http://schemas.microsoft.com/office/drawing/2014/main" id="{66DB99D9-986A-44A6-9536-C11B8FA6CE2C}"/>
              </a:ext>
            </a:extLst>
          </p:cNvPr>
          <p:cNvPicPr>
            <a:picLocks noChangeAspect="1"/>
          </p:cNvPicPr>
          <p:nvPr/>
        </p:nvPicPr>
        <p:blipFill rotWithShape="1">
          <a:blip r:embed="rId4">
            <a:extLst>
              <a:ext uri="{28A0092B-C50C-407E-A947-70E740481C1C}">
                <a14:useLocalDpi xmlns:a14="http://schemas.microsoft.com/office/drawing/2010/main" val="0"/>
              </a:ext>
            </a:extLst>
          </a:blip>
          <a:srcRect r="67582" b="55177"/>
          <a:stretch/>
        </p:blipFill>
        <p:spPr>
          <a:xfrm>
            <a:off x="4975509" y="687360"/>
            <a:ext cx="790478" cy="849611"/>
          </a:xfrm>
          <a:prstGeom prst="rect">
            <a:avLst/>
          </a:prstGeom>
        </p:spPr>
      </p:pic>
      <p:pic>
        <p:nvPicPr>
          <p:cNvPr id="47" name="Picture 46" descr="A picture containing drawing&#10;&#10;Description automatically generated">
            <a:extLst>
              <a:ext uri="{FF2B5EF4-FFF2-40B4-BE49-F238E27FC236}">
                <a16:creationId xmlns:a16="http://schemas.microsoft.com/office/drawing/2014/main" id="{4FE8C58B-52AC-42A5-A25B-54A3DA4C6E41}"/>
              </a:ext>
            </a:extLst>
          </p:cNvPr>
          <p:cNvPicPr>
            <a:picLocks noChangeAspect="1"/>
          </p:cNvPicPr>
          <p:nvPr/>
        </p:nvPicPr>
        <p:blipFill rotWithShape="1">
          <a:blip r:embed="rId4">
            <a:extLst>
              <a:ext uri="{28A0092B-C50C-407E-A947-70E740481C1C}">
                <a14:useLocalDpi xmlns:a14="http://schemas.microsoft.com/office/drawing/2010/main" val="0"/>
              </a:ext>
            </a:extLst>
          </a:blip>
          <a:srcRect l="69684" b="55177"/>
          <a:stretch/>
        </p:blipFill>
        <p:spPr>
          <a:xfrm>
            <a:off x="6216166" y="1955360"/>
            <a:ext cx="739237" cy="849611"/>
          </a:xfrm>
          <a:prstGeom prst="rect">
            <a:avLst/>
          </a:prstGeom>
        </p:spPr>
      </p:pic>
      <p:pic>
        <p:nvPicPr>
          <p:cNvPr id="49" name="Picture 48" descr="A picture containing drawing&#10;&#10;Description automatically generated">
            <a:extLst>
              <a:ext uri="{FF2B5EF4-FFF2-40B4-BE49-F238E27FC236}">
                <a16:creationId xmlns:a16="http://schemas.microsoft.com/office/drawing/2014/main" id="{B2E39395-E680-43F8-8C77-2CCC1B98BCBC}"/>
              </a:ext>
            </a:extLst>
          </p:cNvPr>
          <p:cNvPicPr>
            <a:picLocks noChangeAspect="1"/>
          </p:cNvPicPr>
          <p:nvPr/>
        </p:nvPicPr>
        <p:blipFill rotWithShape="1">
          <a:blip r:embed="rId4">
            <a:extLst>
              <a:ext uri="{28A0092B-C50C-407E-A947-70E740481C1C}">
                <a14:useLocalDpi xmlns:a14="http://schemas.microsoft.com/office/drawing/2010/main" val="0"/>
              </a:ext>
            </a:extLst>
          </a:blip>
          <a:srcRect l="60617" t="52710" r="-3576" b="-3072"/>
          <a:stretch/>
        </p:blipFill>
        <p:spPr>
          <a:xfrm>
            <a:off x="6996050" y="3653318"/>
            <a:ext cx="1047504" cy="954591"/>
          </a:xfrm>
          <a:prstGeom prst="rect">
            <a:avLst/>
          </a:prstGeom>
        </p:spPr>
      </p:pic>
      <p:sp>
        <p:nvSpPr>
          <p:cNvPr id="50" name="Arrow: Right 49">
            <a:extLst>
              <a:ext uri="{FF2B5EF4-FFF2-40B4-BE49-F238E27FC236}">
                <a16:creationId xmlns:a16="http://schemas.microsoft.com/office/drawing/2014/main" id="{BB105998-C8CD-465F-9228-AF82BC749A72}"/>
              </a:ext>
            </a:extLst>
          </p:cNvPr>
          <p:cNvSpPr/>
          <p:nvPr/>
        </p:nvSpPr>
        <p:spPr>
          <a:xfrm rot="12737760">
            <a:off x="7050057" y="3804425"/>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 name="Arrow: Right 50">
            <a:extLst>
              <a:ext uri="{FF2B5EF4-FFF2-40B4-BE49-F238E27FC236}">
                <a16:creationId xmlns:a16="http://schemas.microsoft.com/office/drawing/2014/main" id="{7A218FF4-0DE3-436B-AAF7-3E2F3D1C96D1}"/>
              </a:ext>
            </a:extLst>
          </p:cNvPr>
          <p:cNvSpPr/>
          <p:nvPr/>
        </p:nvSpPr>
        <p:spPr>
          <a:xfrm rot="8987963">
            <a:off x="5881324" y="2345133"/>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2" name="Arrow: Right 51">
            <a:extLst>
              <a:ext uri="{FF2B5EF4-FFF2-40B4-BE49-F238E27FC236}">
                <a16:creationId xmlns:a16="http://schemas.microsoft.com/office/drawing/2014/main" id="{14AB7ACE-5D2A-4338-A897-B146185DA4F3}"/>
              </a:ext>
            </a:extLst>
          </p:cNvPr>
          <p:cNvSpPr/>
          <p:nvPr/>
        </p:nvSpPr>
        <p:spPr>
          <a:xfrm rot="19873466">
            <a:off x="6023301" y="2489213"/>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3" name="Arrow: Right 52">
            <a:extLst>
              <a:ext uri="{FF2B5EF4-FFF2-40B4-BE49-F238E27FC236}">
                <a16:creationId xmlns:a16="http://schemas.microsoft.com/office/drawing/2014/main" id="{CB2F09F2-99F0-4790-B375-A6ED4463A181}"/>
              </a:ext>
            </a:extLst>
          </p:cNvPr>
          <p:cNvSpPr/>
          <p:nvPr/>
        </p:nvSpPr>
        <p:spPr>
          <a:xfrm rot="16464042">
            <a:off x="6560931" y="2890577"/>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4" name="Arrow: Right 53">
            <a:extLst>
              <a:ext uri="{FF2B5EF4-FFF2-40B4-BE49-F238E27FC236}">
                <a16:creationId xmlns:a16="http://schemas.microsoft.com/office/drawing/2014/main" id="{EAC05CC8-9EDB-445A-95FD-0B99C0D41805}"/>
              </a:ext>
            </a:extLst>
          </p:cNvPr>
          <p:cNvSpPr/>
          <p:nvPr/>
        </p:nvSpPr>
        <p:spPr>
          <a:xfrm rot="5768984">
            <a:off x="6315503" y="2868439"/>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5" name="Arrow: Right 54">
            <a:extLst>
              <a:ext uri="{FF2B5EF4-FFF2-40B4-BE49-F238E27FC236}">
                <a16:creationId xmlns:a16="http://schemas.microsoft.com/office/drawing/2014/main" id="{83EBC9AF-D70E-495F-8218-592852655157}"/>
              </a:ext>
            </a:extLst>
          </p:cNvPr>
          <p:cNvSpPr/>
          <p:nvPr/>
        </p:nvSpPr>
        <p:spPr>
          <a:xfrm rot="8025613">
            <a:off x="4822987" y="1368650"/>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6" name="Arrow: Right 55">
            <a:extLst>
              <a:ext uri="{FF2B5EF4-FFF2-40B4-BE49-F238E27FC236}">
                <a16:creationId xmlns:a16="http://schemas.microsoft.com/office/drawing/2014/main" id="{DE60FDA2-1FE5-4366-AF43-DDD9CFC56700}"/>
              </a:ext>
            </a:extLst>
          </p:cNvPr>
          <p:cNvSpPr/>
          <p:nvPr/>
        </p:nvSpPr>
        <p:spPr>
          <a:xfrm rot="18638612">
            <a:off x="4994819" y="1466766"/>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7" name="Rectangle 56">
            <a:extLst>
              <a:ext uri="{FF2B5EF4-FFF2-40B4-BE49-F238E27FC236}">
                <a16:creationId xmlns:a16="http://schemas.microsoft.com/office/drawing/2014/main" id="{C97802B4-1A12-4CC1-A8D1-26E67200092C}"/>
              </a:ext>
            </a:extLst>
          </p:cNvPr>
          <p:cNvSpPr/>
          <p:nvPr/>
        </p:nvSpPr>
        <p:spPr>
          <a:xfrm>
            <a:off x="6710564" y="1693985"/>
            <a:ext cx="1285779" cy="588995"/>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chemeClr val="accent1"/>
                </a:solidFill>
                <a:effectLst/>
                <a:uLnTx/>
                <a:uFillTx/>
                <a:ea typeface="+mn-ea"/>
                <a:cs typeface="+mn-cs"/>
              </a:rPr>
              <a:t>SAM Managed Service Administrators</a:t>
            </a:r>
          </a:p>
        </p:txBody>
      </p:sp>
      <p:sp>
        <p:nvSpPr>
          <p:cNvPr id="58" name="Rectangle 57">
            <a:extLst>
              <a:ext uri="{FF2B5EF4-FFF2-40B4-BE49-F238E27FC236}">
                <a16:creationId xmlns:a16="http://schemas.microsoft.com/office/drawing/2014/main" id="{43B037BB-4751-48D6-9F93-9BC3E3F37B57}"/>
              </a:ext>
            </a:extLst>
          </p:cNvPr>
          <p:cNvSpPr/>
          <p:nvPr/>
        </p:nvSpPr>
        <p:spPr>
          <a:xfrm>
            <a:off x="5593064" y="691070"/>
            <a:ext cx="1285779" cy="417983"/>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chemeClr val="accent1"/>
                </a:solidFill>
                <a:effectLst/>
                <a:uLnTx/>
                <a:uFillTx/>
                <a:ea typeface="+mn-ea"/>
                <a:cs typeface="+mn-cs"/>
              </a:rPr>
              <a:t>SAM Users</a:t>
            </a:r>
          </a:p>
        </p:txBody>
      </p:sp>
      <p:sp>
        <p:nvSpPr>
          <p:cNvPr id="59" name="Rectangle 58">
            <a:extLst>
              <a:ext uri="{FF2B5EF4-FFF2-40B4-BE49-F238E27FC236}">
                <a16:creationId xmlns:a16="http://schemas.microsoft.com/office/drawing/2014/main" id="{60602E5E-6A94-48F9-BE18-663AD8850F68}"/>
              </a:ext>
            </a:extLst>
          </p:cNvPr>
          <p:cNvSpPr/>
          <p:nvPr/>
        </p:nvSpPr>
        <p:spPr>
          <a:xfrm>
            <a:off x="6669547" y="4508947"/>
            <a:ext cx="1285779" cy="417983"/>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chemeClr val="accent5"/>
                </a:solidFill>
                <a:effectLst/>
                <a:uLnTx/>
                <a:uFillTx/>
                <a:ea typeface="+mn-ea"/>
                <a:cs typeface="+mn-cs"/>
              </a:rPr>
              <a:t>EUC Users</a:t>
            </a:r>
          </a:p>
        </p:txBody>
      </p:sp>
    </p:spTree>
    <p:extLst>
      <p:ext uri="{BB962C8B-B14F-4D97-AF65-F5344CB8AC3E}">
        <p14:creationId xmlns:p14="http://schemas.microsoft.com/office/powerpoint/2010/main" val="250403986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a:extLst>
              <a:ext uri="{FF2B5EF4-FFF2-40B4-BE49-F238E27FC236}">
                <a16:creationId xmlns:a16="http://schemas.microsoft.com/office/drawing/2014/main" id="{7109F7C7-BB38-FB49-BF9E-01B69D22785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42206" y="3083514"/>
            <a:ext cx="2759963" cy="1780032"/>
          </a:xfrm>
          <a:prstGeom prst="rect">
            <a:avLst/>
          </a:prstGeom>
        </p:spPr>
      </p:pic>
      <p:sp>
        <p:nvSpPr>
          <p:cNvPr id="2" name="Text Placeholder 1">
            <a:extLst>
              <a:ext uri="{FF2B5EF4-FFF2-40B4-BE49-F238E27FC236}">
                <a16:creationId xmlns:a16="http://schemas.microsoft.com/office/drawing/2014/main" id="{76FF4FBA-DC5C-FD4B-8F06-9B674148BAEE}"/>
              </a:ext>
            </a:extLst>
          </p:cNvPr>
          <p:cNvSpPr>
            <a:spLocks noGrp="1"/>
          </p:cNvSpPr>
          <p:nvPr>
            <p:ph type="body" sz="quarter" idx="13"/>
          </p:nvPr>
        </p:nvSpPr>
        <p:spPr/>
        <p:txBody>
          <a:bodyPr/>
          <a:lstStyle/>
          <a:p>
            <a:r>
              <a:rPr lang="en-GB" dirty="0"/>
              <a:t>IMPLEMENTATION SCOPE</a:t>
            </a:r>
          </a:p>
        </p:txBody>
      </p:sp>
      <p:sp>
        <p:nvSpPr>
          <p:cNvPr id="4" name="Title 3">
            <a:extLst>
              <a:ext uri="{FF2B5EF4-FFF2-40B4-BE49-F238E27FC236}">
                <a16:creationId xmlns:a16="http://schemas.microsoft.com/office/drawing/2014/main" id="{D0695754-49B3-864C-8264-9C23CB09BD89}"/>
              </a:ext>
            </a:extLst>
          </p:cNvPr>
          <p:cNvSpPr>
            <a:spLocks noGrp="1"/>
          </p:cNvSpPr>
          <p:nvPr>
            <p:ph type="title"/>
          </p:nvPr>
        </p:nvSpPr>
        <p:spPr>
          <a:xfrm>
            <a:off x="547759" y="628858"/>
            <a:ext cx="7535192" cy="476147"/>
          </a:xfrm>
        </p:spPr>
        <p:txBody>
          <a:bodyPr/>
          <a:lstStyle/>
          <a:p>
            <a:pPr algn="l"/>
            <a:r>
              <a:rPr lang="en-GB" dirty="0"/>
              <a:t>Which are the key Software Vendors?</a:t>
            </a:r>
          </a:p>
        </p:txBody>
      </p:sp>
      <p:pic>
        <p:nvPicPr>
          <p:cNvPr id="7" name="Image">
            <a:extLst>
              <a:ext uri="{FF2B5EF4-FFF2-40B4-BE49-F238E27FC236}">
                <a16:creationId xmlns:a16="http://schemas.microsoft.com/office/drawing/2014/main" id="{F2A888A2-46D0-C34A-9AB9-5DFDB15355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13" name="Graphic 12">
            <a:extLst>
              <a:ext uri="{FF2B5EF4-FFF2-40B4-BE49-F238E27FC236}">
                <a16:creationId xmlns:a16="http://schemas.microsoft.com/office/drawing/2014/main" id="{3F07E0A5-3419-4268-AAE4-A076312E0AD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41055" y="221526"/>
            <a:ext cx="1050960" cy="1050960"/>
          </a:xfrm>
          <a:prstGeom prst="rect">
            <a:avLst/>
          </a:prstGeom>
        </p:spPr>
      </p:pic>
      <p:graphicFrame>
        <p:nvGraphicFramePr>
          <p:cNvPr id="8" name="Table 7">
            <a:extLst>
              <a:ext uri="{FF2B5EF4-FFF2-40B4-BE49-F238E27FC236}">
                <a16:creationId xmlns:a16="http://schemas.microsoft.com/office/drawing/2014/main" id="{FC4AEEF5-BB33-4E83-8ED7-54162F51AADF}"/>
              </a:ext>
            </a:extLst>
          </p:cNvPr>
          <p:cNvGraphicFramePr>
            <a:graphicFrameLocks noGrp="1"/>
          </p:cNvGraphicFramePr>
          <p:nvPr>
            <p:extLst>
              <p:ext uri="{D42A27DB-BD31-4B8C-83A1-F6EECF244321}">
                <p14:modId xmlns:p14="http://schemas.microsoft.com/office/powerpoint/2010/main" val="3361059733"/>
              </p:ext>
            </p:extLst>
          </p:nvPr>
        </p:nvGraphicFramePr>
        <p:xfrm>
          <a:off x="573639" y="1355761"/>
          <a:ext cx="7509312" cy="2282506"/>
        </p:xfrm>
        <a:graphic>
          <a:graphicData uri="http://schemas.openxmlformats.org/drawingml/2006/table">
            <a:tbl>
              <a:tblPr firstRow="1" bandRow="1">
                <a:tableStyleId>{5C22544A-7EE6-4342-B048-85BDC9FD1C3A}</a:tableStyleId>
              </a:tblPr>
              <a:tblGrid>
                <a:gridCol w="2031414">
                  <a:extLst>
                    <a:ext uri="{9D8B030D-6E8A-4147-A177-3AD203B41FA5}">
                      <a16:colId xmlns:a16="http://schemas.microsoft.com/office/drawing/2014/main" val="594456016"/>
                    </a:ext>
                  </a:extLst>
                </a:gridCol>
                <a:gridCol w="1723242">
                  <a:extLst>
                    <a:ext uri="{9D8B030D-6E8A-4147-A177-3AD203B41FA5}">
                      <a16:colId xmlns:a16="http://schemas.microsoft.com/office/drawing/2014/main" val="3624374309"/>
                    </a:ext>
                  </a:extLst>
                </a:gridCol>
                <a:gridCol w="2006721">
                  <a:extLst>
                    <a:ext uri="{9D8B030D-6E8A-4147-A177-3AD203B41FA5}">
                      <a16:colId xmlns:a16="http://schemas.microsoft.com/office/drawing/2014/main" val="1073914796"/>
                    </a:ext>
                  </a:extLst>
                </a:gridCol>
                <a:gridCol w="1747935">
                  <a:extLst>
                    <a:ext uri="{9D8B030D-6E8A-4147-A177-3AD203B41FA5}">
                      <a16:colId xmlns:a16="http://schemas.microsoft.com/office/drawing/2014/main" val="3208781956"/>
                    </a:ext>
                  </a:extLst>
                </a:gridCol>
              </a:tblGrid>
              <a:tr h="283618">
                <a:tc>
                  <a:txBody>
                    <a:bodyPr/>
                    <a:lstStyle/>
                    <a:p>
                      <a:r>
                        <a:rPr lang="en-US" dirty="0"/>
                        <a:t>Vendor</a:t>
                      </a:r>
                      <a:endParaRPr lang="en-AU" dirty="0"/>
                    </a:p>
                  </a:txBody>
                  <a:tcPr/>
                </a:tc>
                <a:tc>
                  <a:txBody>
                    <a:bodyPr/>
                    <a:lstStyle/>
                    <a:p>
                      <a:r>
                        <a:rPr lang="en-AU" dirty="0"/>
                        <a:t>Yearly Spend ($M)</a:t>
                      </a:r>
                    </a:p>
                  </a:txBody>
                  <a:tcPr/>
                </a:tc>
                <a:tc>
                  <a:txBody>
                    <a:bodyPr/>
                    <a:lstStyle/>
                    <a:p>
                      <a:r>
                        <a:rPr lang="en-US" dirty="0"/>
                        <a:t>Vendor</a:t>
                      </a:r>
                      <a:endParaRPr lang="en-AU"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AU" dirty="0"/>
                        <a:t>Yearly Spend ($M)</a:t>
                      </a:r>
                    </a:p>
                  </a:txBody>
                  <a:tcPr/>
                </a:tc>
                <a:extLst>
                  <a:ext uri="{0D108BD9-81ED-4DB2-BD59-A6C34878D82A}">
                    <a16:rowId xmlns:a16="http://schemas.microsoft.com/office/drawing/2014/main" val="746194369"/>
                  </a:ext>
                </a:extLst>
              </a:tr>
              <a:tr h="283618">
                <a:tc>
                  <a:txBody>
                    <a:bodyPr/>
                    <a:lstStyle/>
                    <a:p>
                      <a:r>
                        <a:rPr lang="en-US" sz="1200" dirty="0"/>
                        <a:t>Microsoft</a:t>
                      </a:r>
                      <a:endParaRPr lang="en-AU" sz="1200" dirty="0"/>
                    </a:p>
                  </a:txBody>
                  <a:tcPr/>
                </a:tc>
                <a:tc>
                  <a:txBody>
                    <a:bodyPr/>
                    <a:lstStyle/>
                    <a:p>
                      <a:endParaRPr lang="en-AU" sz="1200" dirty="0"/>
                    </a:p>
                  </a:txBody>
                  <a:tcPr/>
                </a:tc>
                <a:tc>
                  <a:txBody>
                    <a:bodyPr/>
                    <a:lstStyle/>
                    <a:p>
                      <a:endParaRPr lang="en-AU" sz="1200" dirty="0"/>
                    </a:p>
                  </a:txBody>
                  <a:tcPr/>
                </a:tc>
                <a:tc>
                  <a:txBody>
                    <a:bodyPr/>
                    <a:lstStyle/>
                    <a:p>
                      <a:endParaRPr lang="en-AU" sz="1200" dirty="0"/>
                    </a:p>
                  </a:txBody>
                  <a:tcPr/>
                </a:tc>
                <a:extLst>
                  <a:ext uri="{0D108BD9-81ED-4DB2-BD59-A6C34878D82A}">
                    <a16:rowId xmlns:a16="http://schemas.microsoft.com/office/drawing/2014/main" val="2180648965"/>
                  </a:ext>
                </a:extLst>
              </a:tr>
              <a:tr h="283618">
                <a:tc>
                  <a:txBody>
                    <a:bodyPr/>
                    <a:lstStyle/>
                    <a:p>
                      <a:r>
                        <a:rPr lang="en-US" sz="1200" dirty="0"/>
                        <a:t>Oracle</a:t>
                      </a:r>
                    </a:p>
                  </a:txBody>
                  <a:tcPr/>
                </a:tc>
                <a:tc>
                  <a:txBody>
                    <a:bodyPr/>
                    <a:lstStyle/>
                    <a:p>
                      <a:endParaRPr lang="en-US" sz="1200" dirty="0"/>
                    </a:p>
                  </a:txBody>
                  <a:tcPr/>
                </a:tc>
                <a:tc>
                  <a:txBody>
                    <a:bodyPr/>
                    <a:lstStyle/>
                    <a:p>
                      <a:endParaRPr lang="en-AU" sz="1200" dirty="0"/>
                    </a:p>
                  </a:txBody>
                  <a:tcPr/>
                </a:tc>
                <a:tc>
                  <a:txBody>
                    <a:bodyPr/>
                    <a:lstStyle/>
                    <a:p>
                      <a:endParaRPr lang="en-AU" sz="1200" dirty="0"/>
                    </a:p>
                  </a:txBody>
                  <a:tcPr/>
                </a:tc>
                <a:extLst>
                  <a:ext uri="{0D108BD9-81ED-4DB2-BD59-A6C34878D82A}">
                    <a16:rowId xmlns:a16="http://schemas.microsoft.com/office/drawing/2014/main" val="3992107931"/>
                  </a:ext>
                </a:extLst>
              </a:tr>
              <a:tr h="283618">
                <a:tc>
                  <a:txBody>
                    <a:bodyPr/>
                    <a:lstStyle/>
                    <a:p>
                      <a:r>
                        <a:rPr lang="en-US" sz="1200" dirty="0"/>
                        <a:t>IBM</a:t>
                      </a:r>
                    </a:p>
                  </a:txBody>
                  <a:tcPr/>
                </a:tc>
                <a:tc>
                  <a:txBody>
                    <a:bodyPr/>
                    <a:lstStyle/>
                    <a:p>
                      <a:endParaRPr lang="en-US" sz="12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extLst>
                  <a:ext uri="{0D108BD9-81ED-4DB2-BD59-A6C34878D82A}">
                    <a16:rowId xmlns:a16="http://schemas.microsoft.com/office/drawing/2014/main" val="4017240611"/>
                  </a:ext>
                </a:extLst>
              </a:tr>
              <a:tr h="283618">
                <a:tc>
                  <a:txBody>
                    <a:bodyPr/>
                    <a:lstStyle/>
                    <a:p>
                      <a:r>
                        <a:rPr lang="en-US" sz="1200" dirty="0"/>
                        <a:t>VMWare</a:t>
                      </a:r>
                    </a:p>
                  </a:txBody>
                  <a:tcPr/>
                </a:tc>
                <a:tc>
                  <a:txBody>
                    <a:bodyPr/>
                    <a:lstStyle/>
                    <a:p>
                      <a:endParaRPr lang="en-US" sz="12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extLst>
                  <a:ext uri="{0D108BD9-81ED-4DB2-BD59-A6C34878D82A}">
                    <a16:rowId xmlns:a16="http://schemas.microsoft.com/office/drawing/2014/main" val="3322664593"/>
                  </a:ext>
                </a:extLst>
              </a:tr>
              <a:tr h="283618">
                <a:tc>
                  <a:txBody>
                    <a:bodyPr/>
                    <a:lstStyle/>
                    <a:p>
                      <a:r>
                        <a:rPr lang="en-US" sz="1200" dirty="0"/>
                        <a:t>Adobe</a:t>
                      </a:r>
                    </a:p>
                  </a:txBody>
                  <a:tcPr/>
                </a:tc>
                <a:tc>
                  <a:txBody>
                    <a:bodyPr/>
                    <a:lstStyle/>
                    <a:p>
                      <a:endParaRPr lang="en-US" sz="12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extLst>
                  <a:ext uri="{0D108BD9-81ED-4DB2-BD59-A6C34878D82A}">
                    <a16:rowId xmlns:a16="http://schemas.microsoft.com/office/drawing/2014/main" val="486554975"/>
                  </a:ext>
                </a:extLst>
              </a:tr>
              <a:tr h="283618">
                <a:tc>
                  <a:txBody>
                    <a:bodyPr/>
                    <a:lstStyle/>
                    <a:p>
                      <a:r>
                        <a:rPr lang="en-US" sz="1200" dirty="0"/>
                        <a:t>Red Hat</a:t>
                      </a:r>
                    </a:p>
                  </a:txBody>
                  <a:tcPr/>
                </a:tc>
                <a:tc>
                  <a:txBody>
                    <a:bodyPr/>
                    <a:lstStyle/>
                    <a:p>
                      <a:endParaRPr lang="en-US" sz="12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extLst>
                  <a:ext uri="{0D108BD9-81ED-4DB2-BD59-A6C34878D82A}">
                    <a16:rowId xmlns:a16="http://schemas.microsoft.com/office/drawing/2014/main" val="220881175"/>
                  </a:ext>
                </a:extLst>
              </a:tr>
              <a:tr h="283618">
                <a:tc>
                  <a:txBody>
                    <a:bodyPr/>
                    <a:lstStyle/>
                    <a:p>
                      <a:endParaRPr lang="en-US" sz="1200" dirty="0"/>
                    </a:p>
                  </a:txBody>
                  <a:tcPr/>
                </a:tc>
                <a:tc>
                  <a:txBody>
                    <a:bodyPr/>
                    <a:lstStyle/>
                    <a:p>
                      <a:endParaRPr lang="en-US" sz="12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extLst>
                  <a:ext uri="{0D108BD9-81ED-4DB2-BD59-A6C34878D82A}">
                    <a16:rowId xmlns:a16="http://schemas.microsoft.com/office/drawing/2014/main" val="3398339412"/>
                  </a:ext>
                </a:extLst>
              </a:tr>
            </a:tbl>
          </a:graphicData>
        </a:graphic>
      </p:graphicFrame>
    </p:spTree>
    <p:extLst>
      <p:ext uri="{BB962C8B-B14F-4D97-AF65-F5344CB8AC3E}">
        <p14:creationId xmlns:p14="http://schemas.microsoft.com/office/powerpoint/2010/main" val="7345928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OTLTIMEBANDCULTUREINFO" val="en-US"/>
  <p:tag name="OTLTIMEBANDSCALEFORMAT" val="MMM"/>
  <p:tag name="OTLTIMEBANDSCALETYPE" val="Months"/>
  <p:tag name="OTLTIMEBANDSHAPETYPE" val="RectangleTimeband"/>
  <p:tag name="OTLTIMEBANDTHREEDEFFECTS" val="None"/>
  <p:tag name="OTLTIMEBANDAUTODATERANGE" val="True"/>
  <p:tag name="OTLTIMEBANDSTARTDATE" val="0001-01-01T00:00:00.0000000"/>
  <p:tag name="OTLTIMEBANDWORKINGDAYS" val="Standard"/>
  <p:tag name="OTLTIMEBANDELAPSEDTIMEEXTENSION" val="False"/>
  <p:tag name="OTLTIMEBANDUSETIME" val="True"/>
  <p:tag name="OTLTIMEBANDTIMECONFIGWORKDAYSTART" val="00:00:00"/>
  <p:tag name="OTLTIMEBANDTIMECONFIGWORKDAYEND" val="23:59:00"/>
  <p:tag name="OTLTIMEBANDAPPENDYEARONYEARCHANGE" val="True"/>
  <p:tag name="OTLTIMEBANDSCALEMARKING" val="None"/>
  <p:tag name="OTLRIGHTENDCAPSMARGINRIGHT" val="25"/>
  <p:tag name="OTLLEFTENDCAPSMARGINLEFT" val="25"/>
  <p:tag name="OTLTIMEBANDSHAPEPADDINGTOP" val="7"/>
  <p:tag name="OTLTIMEBANDFYSTARTMONTH" val="January"/>
  <p:tag name="OTLTIMEBANDSHOWFYLABEL" val="True"/>
  <p:tag name="OTLTIMEBANDUSESTARTINGOFTHEYEARFORFYNUMBERING" val="True"/>
  <p:tag name="OTLTIMEBANDENDDATE" val="2021-04-02T23:59:00.0000000"/>
  <p:tag name="OTLTIMEBANDQUICKPOSITION" val="Custom"/>
  <p:tag name="OTLMARKERSHAPE" val="OTL"/>
</p:tagLst>
</file>

<file path=ppt/tags/tag100.xml><?xml version="1.0" encoding="utf-8"?>
<p:tagLst xmlns:a="http://schemas.openxmlformats.org/drawingml/2006/main" xmlns:r="http://schemas.openxmlformats.org/officeDocument/2006/relationships" xmlns:p="http://schemas.openxmlformats.org/presentationml/2006/main">
  <p:tag name="OTLMARKERSHAPE" val="OTL"/>
</p:tagLst>
</file>

<file path=ppt/tags/tag101.xml><?xml version="1.0" encoding="utf-8"?>
<p:tagLst xmlns:a="http://schemas.openxmlformats.org/drawingml/2006/main" xmlns:r="http://schemas.openxmlformats.org/officeDocument/2006/relationships" xmlns:p="http://schemas.openxmlformats.org/presentationml/2006/main">
  <p:tag name="OTLMARKERSHAPE" val="OTL"/>
</p:tagLst>
</file>

<file path=ppt/tags/tag102.xml><?xml version="1.0" encoding="utf-8"?>
<p:tagLst xmlns:a="http://schemas.openxmlformats.org/drawingml/2006/main" xmlns:r="http://schemas.openxmlformats.org/officeDocument/2006/relationships" xmlns:p="http://schemas.openxmlformats.org/presentationml/2006/main">
  <p:tag name="OTLMARKERSHAPE" val="OTL"/>
</p:tagLst>
</file>

<file path=ppt/tags/tag103.xml><?xml version="1.0" encoding="utf-8"?>
<p:tagLst xmlns:a="http://schemas.openxmlformats.org/drawingml/2006/main" xmlns:r="http://schemas.openxmlformats.org/officeDocument/2006/relationships" xmlns:p="http://schemas.openxmlformats.org/presentationml/2006/main">
  <p:tag name="OTLMARKERSHAPE" val="OTL"/>
</p:tagLst>
</file>

<file path=ppt/tags/tag104.xml><?xml version="1.0" encoding="utf-8"?>
<p:tagLst xmlns:a="http://schemas.openxmlformats.org/drawingml/2006/main" xmlns:r="http://schemas.openxmlformats.org/officeDocument/2006/relationships" xmlns:p="http://schemas.openxmlformats.org/presentationml/2006/main">
  <p:tag name="OTLMARKERSHAPE" val="OTL"/>
</p:tagLst>
</file>

<file path=ppt/tags/tag105.xml><?xml version="1.0" encoding="utf-8"?>
<p:tagLst xmlns:a="http://schemas.openxmlformats.org/drawingml/2006/main" xmlns:r="http://schemas.openxmlformats.org/officeDocument/2006/relationships" xmlns:p="http://schemas.openxmlformats.org/presentationml/2006/main">
  <p:tag name="OTLMARKERSHAPE" val="OTL"/>
</p:tagLst>
</file>

<file path=ppt/tags/tag106.xml><?xml version="1.0" encoding="utf-8"?>
<p:tagLst xmlns:a="http://schemas.openxmlformats.org/drawingml/2006/main" xmlns:r="http://schemas.openxmlformats.org/officeDocument/2006/relationships" xmlns:p="http://schemas.openxmlformats.org/presentationml/2006/main">
  <p:tag name="OTLMARKERSHAPE" val="OTL"/>
</p:tagLst>
</file>

<file path=ppt/tags/tag107.xml><?xml version="1.0" encoding="utf-8"?>
<p:tagLst xmlns:a="http://schemas.openxmlformats.org/drawingml/2006/main" xmlns:r="http://schemas.openxmlformats.org/officeDocument/2006/relationships" xmlns:p="http://schemas.openxmlformats.org/presentationml/2006/main">
  <p:tag name="OTLMARKERSHAPE" val="OTL"/>
</p:tagLst>
</file>

<file path=ppt/tags/tag108.xml><?xml version="1.0" encoding="utf-8"?>
<p:tagLst xmlns:a="http://schemas.openxmlformats.org/drawingml/2006/main" xmlns:r="http://schemas.openxmlformats.org/officeDocument/2006/relationships" xmlns:p="http://schemas.openxmlformats.org/presentationml/2006/main">
  <p:tag name="OTLMARKERSHAPE" val="OTL"/>
</p:tagLst>
</file>

<file path=ppt/tags/tag109.xml><?xml version="1.0" encoding="utf-8"?>
<p:tagLst xmlns:a="http://schemas.openxmlformats.org/drawingml/2006/main" xmlns:r="http://schemas.openxmlformats.org/officeDocument/2006/relationships" xmlns:p="http://schemas.openxmlformats.org/presentationml/2006/main">
  <p:tag name="OTLMARKERSHAPE" val="OTL"/>
</p:tagLst>
</file>

<file path=ppt/tags/tag11.xml><?xml version="1.0" encoding="utf-8"?>
<p:tagLst xmlns:a="http://schemas.openxmlformats.org/drawingml/2006/main" xmlns:r="http://schemas.openxmlformats.org/officeDocument/2006/relationships" xmlns:p="http://schemas.openxmlformats.org/presentationml/2006/main">
  <p:tag name="OTLMARKERSHAPE" val="OTL"/>
</p:tagLst>
</file>

<file path=ppt/tags/tag110.xml><?xml version="1.0" encoding="utf-8"?>
<p:tagLst xmlns:a="http://schemas.openxmlformats.org/drawingml/2006/main" xmlns:r="http://schemas.openxmlformats.org/officeDocument/2006/relationships" xmlns:p="http://schemas.openxmlformats.org/presentationml/2006/main">
  <p:tag name="OTLMARKERSHAPE" val="OTL"/>
</p:tagLst>
</file>

<file path=ppt/tags/tag111.xml><?xml version="1.0" encoding="utf-8"?>
<p:tagLst xmlns:a="http://schemas.openxmlformats.org/drawingml/2006/main" xmlns:r="http://schemas.openxmlformats.org/officeDocument/2006/relationships" xmlns:p="http://schemas.openxmlformats.org/presentationml/2006/main">
  <p:tag name="OTLMARKERSHAPE" val="OTL"/>
</p:tagLst>
</file>

<file path=ppt/tags/tag112.xml><?xml version="1.0" encoding="utf-8"?>
<p:tagLst xmlns:a="http://schemas.openxmlformats.org/drawingml/2006/main" xmlns:r="http://schemas.openxmlformats.org/officeDocument/2006/relationships" xmlns:p="http://schemas.openxmlformats.org/presentationml/2006/main">
  <p:tag name="OTLMARKERSHAPE" val="OTL"/>
</p:tagLst>
</file>

<file path=ppt/tags/tag113.xml><?xml version="1.0" encoding="utf-8"?>
<p:tagLst xmlns:a="http://schemas.openxmlformats.org/drawingml/2006/main" xmlns:r="http://schemas.openxmlformats.org/officeDocument/2006/relationships" xmlns:p="http://schemas.openxmlformats.org/presentationml/2006/main">
  <p:tag name="OTLMARKERSHAPE" val="OTL"/>
</p:tagLst>
</file>

<file path=ppt/tags/tag114.xml><?xml version="1.0" encoding="utf-8"?>
<p:tagLst xmlns:a="http://schemas.openxmlformats.org/drawingml/2006/main" xmlns:r="http://schemas.openxmlformats.org/officeDocument/2006/relationships" xmlns:p="http://schemas.openxmlformats.org/presentationml/2006/main">
  <p:tag name="OTLMARKERSHAPE" val="OTL"/>
</p:tagLst>
</file>

<file path=ppt/tags/tag115.xml><?xml version="1.0" encoding="utf-8"?>
<p:tagLst xmlns:a="http://schemas.openxmlformats.org/drawingml/2006/main" xmlns:r="http://schemas.openxmlformats.org/officeDocument/2006/relationships" xmlns:p="http://schemas.openxmlformats.org/presentationml/2006/main">
  <p:tag name="OTLMARKERSHAPE" val="OTL"/>
</p:tagLst>
</file>

<file path=ppt/tags/tag116.xml><?xml version="1.0" encoding="utf-8"?>
<p:tagLst xmlns:a="http://schemas.openxmlformats.org/drawingml/2006/main" xmlns:r="http://schemas.openxmlformats.org/officeDocument/2006/relationships" xmlns:p="http://schemas.openxmlformats.org/presentationml/2006/main">
  <p:tag name="OTLMARKERSHAPE" val="OTL"/>
</p:tagLst>
</file>

<file path=ppt/tags/tag117.xml><?xml version="1.0" encoding="utf-8"?>
<p:tagLst xmlns:a="http://schemas.openxmlformats.org/drawingml/2006/main" xmlns:r="http://schemas.openxmlformats.org/officeDocument/2006/relationships" xmlns:p="http://schemas.openxmlformats.org/presentationml/2006/main">
  <p:tag name="OTLMARKERSHAPE" val="OTL"/>
</p:tagLst>
</file>

<file path=ppt/tags/tag118.xml><?xml version="1.0" encoding="utf-8"?>
<p:tagLst xmlns:a="http://schemas.openxmlformats.org/drawingml/2006/main" xmlns:r="http://schemas.openxmlformats.org/officeDocument/2006/relationships" xmlns:p="http://schemas.openxmlformats.org/presentationml/2006/main">
  <p:tag name="OTLMARKERSHAPE" val="OTL"/>
</p:tagLst>
</file>

<file path=ppt/tags/tag119.xml><?xml version="1.0" encoding="utf-8"?>
<p:tagLst xmlns:a="http://schemas.openxmlformats.org/drawingml/2006/main" xmlns:r="http://schemas.openxmlformats.org/officeDocument/2006/relationships" xmlns:p="http://schemas.openxmlformats.org/presentationml/2006/main">
  <p:tag name="OTLMARKERSHAPE" val="OTL"/>
</p:tagLst>
</file>

<file path=ppt/tags/tag12.xml><?xml version="1.0" encoding="utf-8"?>
<p:tagLst xmlns:a="http://schemas.openxmlformats.org/drawingml/2006/main" xmlns:r="http://schemas.openxmlformats.org/officeDocument/2006/relationships" xmlns:p="http://schemas.openxmlformats.org/presentationml/2006/main">
  <p:tag name="OTLMARKERSHAPE" val="OTL"/>
</p:tagLst>
</file>

<file path=ppt/tags/tag120.xml><?xml version="1.0" encoding="utf-8"?>
<p:tagLst xmlns:a="http://schemas.openxmlformats.org/drawingml/2006/main" xmlns:r="http://schemas.openxmlformats.org/officeDocument/2006/relationships" xmlns:p="http://schemas.openxmlformats.org/presentationml/2006/main">
  <p:tag name="OTLMARKERSHAPE" val="OTL"/>
</p:tagLst>
</file>

<file path=ppt/tags/tag121.xml><?xml version="1.0" encoding="utf-8"?>
<p:tagLst xmlns:a="http://schemas.openxmlformats.org/drawingml/2006/main" xmlns:r="http://schemas.openxmlformats.org/officeDocument/2006/relationships" xmlns:p="http://schemas.openxmlformats.org/presentationml/2006/main">
  <p:tag name="OTLMARKERSHAPE" val="OTL"/>
</p:tagLst>
</file>

<file path=ppt/tags/tag122.xml><?xml version="1.0" encoding="utf-8"?>
<p:tagLst xmlns:a="http://schemas.openxmlformats.org/drawingml/2006/main" xmlns:r="http://schemas.openxmlformats.org/officeDocument/2006/relationships" xmlns:p="http://schemas.openxmlformats.org/presentationml/2006/main">
  <p:tag name="OTLMARKERSHAPE" val="OTL"/>
</p:tagLst>
</file>

<file path=ppt/tags/tag123.xml><?xml version="1.0" encoding="utf-8"?>
<p:tagLst xmlns:a="http://schemas.openxmlformats.org/drawingml/2006/main" xmlns:r="http://schemas.openxmlformats.org/officeDocument/2006/relationships" xmlns:p="http://schemas.openxmlformats.org/presentationml/2006/main">
  <p:tag name="OTLMARKERSHAPE" val="OTL"/>
</p:tagLst>
</file>

<file path=ppt/tags/tag124.xml><?xml version="1.0" encoding="utf-8"?>
<p:tagLst xmlns:a="http://schemas.openxmlformats.org/drawingml/2006/main" xmlns:r="http://schemas.openxmlformats.org/officeDocument/2006/relationships" xmlns:p="http://schemas.openxmlformats.org/presentationml/2006/main">
  <p:tag name="OTLMARKERSHAPE" val="OTL"/>
</p:tagLst>
</file>

<file path=ppt/tags/tag125.xml><?xml version="1.0" encoding="utf-8"?>
<p:tagLst xmlns:a="http://schemas.openxmlformats.org/drawingml/2006/main" xmlns:r="http://schemas.openxmlformats.org/officeDocument/2006/relationships" xmlns:p="http://schemas.openxmlformats.org/presentationml/2006/main">
  <p:tag name="OTLMARKERSHAPE" val="OTL"/>
</p:tagLst>
</file>

<file path=ppt/tags/tag126.xml><?xml version="1.0" encoding="utf-8"?>
<p:tagLst xmlns:a="http://schemas.openxmlformats.org/drawingml/2006/main" xmlns:r="http://schemas.openxmlformats.org/officeDocument/2006/relationships" xmlns:p="http://schemas.openxmlformats.org/presentationml/2006/main">
  <p:tag name="OTLMARKERSHAPE" val="OTL"/>
</p:tagLst>
</file>

<file path=ppt/tags/tag127.xml><?xml version="1.0" encoding="utf-8"?>
<p:tagLst xmlns:a="http://schemas.openxmlformats.org/drawingml/2006/main" xmlns:r="http://schemas.openxmlformats.org/officeDocument/2006/relationships" xmlns:p="http://schemas.openxmlformats.org/presentationml/2006/main">
  <p:tag name="OTLMARKERSHAPE" val="OTL"/>
</p:tagLst>
</file>

<file path=ppt/tags/tag128.xml><?xml version="1.0" encoding="utf-8"?>
<p:tagLst xmlns:a="http://schemas.openxmlformats.org/drawingml/2006/main" xmlns:r="http://schemas.openxmlformats.org/officeDocument/2006/relationships" xmlns:p="http://schemas.openxmlformats.org/presentationml/2006/main">
  <p:tag name="OTLMARKERSHAPE" val="OTL"/>
</p:tagLst>
</file>

<file path=ppt/tags/tag129.xml><?xml version="1.0" encoding="utf-8"?>
<p:tagLst xmlns:a="http://schemas.openxmlformats.org/drawingml/2006/main" xmlns:r="http://schemas.openxmlformats.org/officeDocument/2006/relationships" xmlns:p="http://schemas.openxmlformats.org/presentationml/2006/main">
  <p:tag name="OTLMARKERSHAPE" val="OTL"/>
</p:tagLst>
</file>

<file path=ppt/tags/tag13.xml><?xml version="1.0" encoding="utf-8"?>
<p:tagLst xmlns:a="http://schemas.openxmlformats.org/drawingml/2006/main" xmlns:r="http://schemas.openxmlformats.org/officeDocument/2006/relationships" xmlns:p="http://schemas.openxmlformats.org/presentationml/2006/main">
  <p:tag name="OTLMARKERSHAPE" val="OTL"/>
</p:tagLst>
</file>

<file path=ppt/tags/tag130.xml><?xml version="1.0" encoding="utf-8"?>
<p:tagLst xmlns:a="http://schemas.openxmlformats.org/drawingml/2006/main" xmlns:r="http://schemas.openxmlformats.org/officeDocument/2006/relationships" xmlns:p="http://schemas.openxmlformats.org/presentationml/2006/main">
  <p:tag name="OTLMARKERSHAPE" val="OTL"/>
</p:tagLst>
</file>

<file path=ppt/tags/tag131.xml><?xml version="1.0" encoding="utf-8"?>
<p:tagLst xmlns:a="http://schemas.openxmlformats.org/drawingml/2006/main" xmlns:r="http://schemas.openxmlformats.org/officeDocument/2006/relationships" xmlns:p="http://schemas.openxmlformats.org/presentationml/2006/main">
  <p:tag name="OTLMARKERSHAPE" val="OTL"/>
</p:tagLst>
</file>

<file path=ppt/tags/tag132.xml><?xml version="1.0" encoding="utf-8"?>
<p:tagLst xmlns:a="http://schemas.openxmlformats.org/drawingml/2006/main" xmlns:r="http://schemas.openxmlformats.org/officeDocument/2006/relationships" xmlns:p="http://schemas.openxmlformats.org/presentationml/2006/main">
  <p:tag name="OTLMARKERSHAPE" val="OTL"/>
</p:tagLst>
</file>

<file path=ppt/tags/tag133.xml><?xml version="1.0" encoding="utf-8"?>
<p:tagLst xmlns:a="http://schemas.openxmlformats.org/drawingml/2006/main" xmlns:r="http://schemas.openxmlformats.org/officeDocument/2006/relationships" xmlns:p="http://schemas.openxmlformats.org/presentationml/2006/main">
  <p:tag name="OTLMARKERSHAPE" val="OTL"/>
</p:tagLst>
</file>

<file path=ppt/tags/tag134.xml><?xml version="1.0" encoding="utf-8"?>
<p:tagLst xmlns:a="http://schemas.openxmlformats.org/drawingml/2006/main" xmlns:r="http://schemas.openxmlformats.org/officeDocument/2006/relationships" xmlns:p="http://schemas.openxmlformats.org/presentationml/2006/main">
  <p:tag name="OTLMARKERSHAPE" val="OTL"/>
</p:tagLst>
</file>

<file path=ppt/tags/tag135.xml><?xml version="1.0" encoding="utf-8"?>
<p:tagLst xmlns:a="http://schemas.openxmlformats.org/drawingml/2006/main" xmlns:r="http://schemas.openxmlformats.org/officeDocument/2006/relationships" xmlns:p="http://schemas.openxmlformats.org/presentationml/2006/main">
  <p:tag name="OTLMARKERSHAPE" val="OTL"/>
</p:tagLst>
</file>

<file path=ppt/tags/tag136.xml><?xml version="1.0" encoding="utf-8"?>
<p:tagLst xmlns:a="http://schemas.openxmlformats.org/drawingml/2006/main" xmlns:r="http://schemas.openxmlformats.org/officeDocument/2006/relationships" xmlns:p="http://schemas.openxmlformats.org/presentationml/2006/main">
  <p:tag name="OTLMARKERSHAPE" val="OTL"/>
</p:tagLst>
</file>

<file path=ppt/tags/tag137.xml><?xml version="1.0" encoding="utf-8"?>
<p:tagLst xmlns:a="http://schemas.openxmlformats.org/drawingml/2006/main" xmlns:r="http://schemas.openxmlformats.org/officeDocument/2006/relationships" xmlns:p="http://schemas.openxmlformats.org/presentationml/2006/main">
  <p:tag name="OTLMARKERSHAPE" val="OTL"/>
</p:tagLst>
</file>

<file path=ppt/tags/tag138.xml><?xml version="1.0" encoding="utf-8"?>
<p:tagLst xmlns:a="http://schemas.openxmlformats.org/drawingml/2006/main" xmlns:r="http://schemas.openxmlformats.org/officeDocument/2006/relationships" xmlns:p="http://schemas.openxmlformats.org/presentationml/2006/main">
  <p:tag name="OTLMARKERSHAPE" val="OTL"/>
</p:tagLst>
</file>

<file path=ppt/tags/tag139.xml><?xml version="1.0" encoding="utf-8"?>
<p:tagLst xmlns:a="http://schemas.openxmlformats.org/drawingml/2006/main" xmlns:r="http://schemas.openxmlformats.org/officeDocument/2006/relationships" xmlns:p="http://schemas.openxmlformats.org/presentationml/2006/main">
  <p:tag name="OTLMARKERSHAPE" val="OTL"/>
</p:tagLst>
</file>

<file path=ppt/tags/tag14.xml><?xml version="1.0" encoding="utf-8"?>
<p:tagLst xmlns:a="http://schemas.openxmlformats.org/drawingml/2006/main" xmlns:r="http://schemas.openxmlformats.org/officeDocument/2006/relationships" xmlns:p="http://schemas.openxmlformats.org/presentationml/2006/main">
  <p:tag name="OTLMARKERSHAPE" val="OTL"/>
</p:tagLst>
</file>

<file path=ppt/tags/tag140.xml><?xml version="1.0" encoding="utf-8"?>
<p:tagLst xmlns:a="http://schemas.openxmlformats.org/drawingml/2006/main" xmlns:r="http://schemas.openxmlformats.org/officeDocument/2006/relationships" xmlns:p="http://schemas.openxmlformats.org/presentationml/2006/main">
  <p:tag name="OTLMARKERSHAPE" val="OTL"/>
</p:tagLst>
</file>

<file path=ppt/tags/tag141.xml><?xml version="1.0" encoding="utf-8"?>
<p:tagLst xmlns:a="http://schemas.openxmlformats.org/drawingml/2006/main" xmlns:r="http://schemas.openxmlformats.org/officeDocument/2006/relationships" xmlns:p="http://schemas.openxmlformats.org/presentationml/2006/main">
  <p:tag name="OTLMARKERSHAPE" val="OTL"/>
</p:tagLst>
</file>

<file path=ppt/tags/tag142.xml><?xml version="1.0" encoding="utf-8"?>
<p:tagLst xmlns:a="http://schemas.openxmlformats.org/drawingml/2006/main" xmlns:r="http://schemas.openxmlformats.org/officeDocument/2006/relationships" xmlns:p="http://schemas.openxmlformats.org/presentationml/2006/main">
  <p:tag name="OTLMARKERSHAPE" val="OTL"/>
</p:tagLst>
</file>

<file path=ppt/tags/tag143.xml><?xml version="1.0" encoding="utf-8"?>
<p:tagLst xmlns:a="http://schemas.openxmlformats.org/drawingml/2006/main" xmlns:r="http://schemas.openxmlformats.org/officeDocument/2006/relationships" xmlns:p="http://schemas.openxmlformats.org/presentationml/2006/main">
  <p:tag name="OTLMARKERSHAPE" val="OTL"/>
</p:tagLst>
</file>

<file path=ppt/tags/tag144.xml><?xml version="1.0" encoding="utf-8"?>
<p:tagLst xmlns:a="http://schemas.openxmlformats.org/drawingml/2006/main" xmlns:r="http://schemas.openxmlformats.org/officeDocument/2006/relationships" xmlns:p="http://schemas.openxmlformats.org/presentationml/2006/main">
  <p:tag name="OTLMARKERSHAPE" val="OTL"/>
</p:tagLst>
</file>

<file path=ppt/tags/tag145.xml><?xml version="1.0" encoding="utf-8"?>
<p:tagLst xmlns:a="http://schemas.openxmlformats.org/drawingml/2006/main" xmlns:r="http://schemas.openxmlformats.org/officeDocument/2006/relationships" xmlns:p="http://schemas.openxmlformats.org/presentationml/2006/main">
  <p:tag name="OTLMARKERSHAPE" val="OTL"/>
</p:tagLst>
</file>

<file path=ppt/tags/tag146.xml><?xml version="1.0" encoding="utf-8"?>
<p:tagLst xmlns:a="http://schemas.openxmlformats.org/drawingml/2006/main" xmlns:r="http://schemas.openxmlformats.org/officeDocument/2006/relationships" xmlns:p="http://schemas.openxmlformats.org/presentationml/2006/main">
  <p:tag name="OTLMARKERSHAPE" val="OTL"/>
</p:tagLst>
</file>

<file path=ppt/tags/tag147.xml><?xml version="1.0" encoding="utf-8"?>
<p:tagLst xmlns:a="http://schemas.openxmlformats.org/drawingml/2006/main" xmlns:r="http://schemas.openxmlformats.org/officeDocument/2006/relationships" xmlns:p="http://schemas.openxmlformats.org/presentationml/2006/main">
  <p:tag name="OTLMARKERSHAPE" val="OTL"/>
</p:tagLst>
</file>

<file path=ppt/tags/tag148.xml><?xml version="1.0" encoding="utf-8"?>
<p:tagLst xmlns:a="http://schemas.openxmlformats.org/drawingml/2006/main" xmlns:r="http://schemas.openxmlformats.org/officeDocument/2006/relationships" xmlns:p="http://schemas.openxmlformats.org/presentationml/2006/main">
  <p:tag name="OTLMARKERSHAPE" val="OTL"/>
</p:tagLst>
</file>

<file path=ppt/tags/tag149.xml><?xml version="1.0" encoding="utf-8"?>
<p:tagLst xmlns:a="http://schemas.openxmlformats.org/drawingml/2006/main" xmlns:r="http://schemas.openxmlformats.org/officeDocument/2006/relationships" xmlns:p="http://schemas.openxmlformats.org/presentationml/2006/main">
  <p:tag name="OTLMARKERSHAPE" val="OTL"/>
</p:tagLst>
</file>

<file path=ppt/tags/tag15.xml><?xml version="1.0" encoding="utf-8"?>
<p:tagLst xmlns:a="http://schemas.openxmlformats.org/drawingml/2006/main" xmlns:r="http://schemas.openxmlformats.org/officeDocument/2006/relationships" xmlns:p="http://schemas.openxmlformats.org/presentationml/2006/main">
  <p:tag name="OTLMARKERSHAPE" val="OTL"/>
</p:tagLst>
</file>

<file path=ppt/tags/tag150.xml><?xml version="1.0" encoding="utf-8"?>
<p:tagLst xmlns:a="http://schemas.openxmlformats.org/drawingml/2006/main" xmlns:r="http://schemas.openxmlformats.org/officeDocument/2006/relationships" xmlns:p="http://schemas.openxmlformats.org/presentationml/2006/main">
  <p:tag name="OTLMARKERSHAPE" val="OTL"/>
</p:tagLst>
</file>

<file path=ppt/tags/tag151.xml><?xml version="1.0" encoding="utf-8"?>
<p:tagLst xmlns:a="http://schemas.openxmlformats.org/drawingml/2006/main" xmlns:r="http://schemas.openxmlformats.org/officeDocument/2006/relationships" xmlns:p="http://schemas.openxmlformats.org/presentationml/2006/main">
  <p:tag name="OTLMARKERSHAPE" val="OTL"/>
</p:tagLst>
</file>

<file path=ppt/tags/tag152.xml><?xml version="1.0" encoding="utf-8"?>
<p:tagLst xmlns:a="http://schemas.openxmlformats.org/drawingml/2006/main" xmlns:r="http://schemas.openxmlformats.org/officeDocument/2006/relationships" xmlns:p="http://schemas.openxmlformats.org/presentationml/2006/main">
  <p:tag name="OTLMARKERSHAPE" val="OTL"/>
</p:tagLst>
</file>

<file path=ppt/tags/tag153.xml><?xml version="1.0" encoding="utf-8"?>
<p:tagLst xmlns:a="http://schemas.openxmlformats.org/drawingml/2006/main" xmlns:r="http://schemas.openxmlformats.org/officeDocument/2006/relationships" xmlns:p="http://schemas.openxmlformats.org/presentationml/2006/main">
  <p:tag name="OTLMARKERSHAPE" val="OTL"/>
</p:tagLst>
</file>

<file path=ppt/tags/tag154.xml><?xml version="1.0" encoding="utf-8"?>
<p:tagLst xmlns:a="http://schemas.openxmlformats.org/drawingml/2006/main" xmlns:r="http://schemas.openxmlformats.org/officeDocument/2006/relationships" xmlns:p="http://schemas.openxmlformats.org/presentationml/2006/main">
  <p:tag name="OTLMARKERSHAPE" val="OTL"/>
</p:tagLst>
</file>

<file path=ppt/tags/tag155.xml><?xml version="1.0" encoding="utf-8"?>
<p:tagLst xmlns:a="http://schemas.openxmlformats.org/drawingml/2006/main" xmlns:r="http://schemas.openxmlformats.org/officeDocument/2006/relationships" xmlns:p="http://schemas.openxmlformats.org/presentationml/2006/main">
  <p:tag name="OTLMARKERSHAPE" val="OTL"/>
</p:tagLst>
</file>

<file path=ppt/tags/tag156.xml><?xml version="1.0" encoding="utf-8"?>
<p:tagLst xmlns:a="http://schemas.openxmlformats.org/drawingml/2006/main" xmlns:r="http://schemas.openxmlformats.org/officeDocument/2006/relationships" xmlns:p="http://schemas.openxmlformats.org/presentationml/2006/main">
  <p:tag name="OTLMARKERSHAPE" val="OTL"/>
</p:tagLst>
</file>

<file path=ppt/tags/tag157.xml><?xml version="1.0" encoding="utf-8"?>
<p:tagLst xmlns:a="http://schemas.openxmlformats.org/drawingml/2006/main" xmlns:r="http://schemas.openxmlformats.org/officeDocument/2006/relationships" xmlns:p="http://schemas.openxmlformats.org/presentationml/2006/main">
  <p:tag name="OTLMARKERSHAPE" val="OTL"/>
</p:tagLst>
</file>

<file path=ppt/tags/tag158.xml><?xml version="1.0" encoding="utf-8"?>
<p:tagLst xmlns:a="http://schemas.openxmlformats.org/drawingml/2006/main" xmlns:r="http://schemas.openxmlformats.org/officeDocument/2006/relationships" xmlns:p="http://schemas.openxmlformats.org/presentationml/2006/main">
  <p:tag name="OTLMARKERSHAPE" val="OTL"/>
</p:tagLst>
</file>

<file path=ppt/tags/tag159.xml><?xml version="1.0" encoding="utf-8"?>
<p:tagLst xmlns:a="http://schemas.openxmlformats.org/drawingml/2006/main" xmlns:r="http://schemas.openxmlformats.org/officeDocument/2006/relationships" xmlns:p="http://schemas.openxmlformats.org/presentationml/2006/main">
  <p:tag name="OTLMARKERSHAPE" val="OTL"/>
</p:tagLst>
</file>

<file path=ppt/tags/tag16.xml><?xml version="1.0" encoding="utf-8"?>
<p:tagLst xmlns:a="http://schemas.openxmlformats.org/drawingml/2006/main" xmlns:r="http://schemas.openxmlformats.org/officeDocument/2006/relationships" xmlns:p="http://schemas.openxmlformats.org/presentationml/2006/main">
  <p:tag name="OTLMARKERSHAPE" val="OTL"/>
</p:tagLst>
</file>

<file path=ppt/tags/tag160.xml><?xml version="1.0" encoding="utf-8"?>
<p:tagLst xmlns:a="http://schemas.openxmlformats.org/drawingml/2006/main" xmlns:r="http://schemas.openxmlformats.org/officeDocument/2006/relationships" xmlns:p="http://schemas.openxmlformats.org/presentationml/2006/main">
  <p:tag name="OTLMARKERSHAPE" val="OTL"/>
</p:tagLst>
</file>

<file path=ppt/tags/tag161.xml><?xml version="1.0" encoding="utf-8"?>
<p:tagLst xmlns:a="http://schemas.openxmlformats.org/drawingml/2006/main" xmlns:r="http://schemas.openxmlformats.org/officeDocument/2006/relationships" xmlns:p="http://schemas.openxmlformats.org/presentationml/2006/main">
  <p:tag name="OTLMARKERSHAPE" val="OTL"/>
</p:tagLst>
</file>

<file path=ppt/tags/tag162.xml><?xml version="1.0" encoding="utf-8"?>
<p:tagLst xmlns:a="http://schemas.openxmlformats.org/drawingml/2006/main" xmlns:r="http://schemas.openxmlformats.org/officeDocument/2006/relationships" xmlns:p="http://schemas.openxmlformats.org/presentationml/2006/main">
  <p:tag name="OTLMARKERSHAPE" val="OTL"/>
</p:tagLst>
</file>

<file path=ppt/tags/tag163.xml><?xml version="1.0" encoding="utf-8"?>
<p:tagLst xmlns:a="http://schemas.openxmlformats.org/drawingml/2006/main" xmlns:r="http://schemas.openxmlformats.org/officeDocument/2006/relationships" xmlns:p="http://schemas.openxmlformats.org/presentationml/2006/main">
  <p:tag name="OTLMARKERSHAPE" val="OTL"/>
</p:tagLst>
</file>

<file path=ppt/tags/tag164.xml><?xml version="1.0" encoding="utf-8"?>
<p:tagLst xmlns:a="http://schemas.openxmlformats.org/drawingml/2006/main" xmlns:r="http://schemas.openxmlformats.org/officeDocument/2006/relationships" xmlns:p="http://schemas.openxmlformats.org/presentationml/2006/main">
  <p:tag name="OTLMARKERSHAPE" val="OTL"/>
</p:tagLst>
</file>

<file path=ppt/tags/tag165.xml><?xml version="1.0" encoding="utf-8"?>
<p:tagLst xmlns:a="http://schemas.openxmlformats.org/drawingml/2006/main" xmlns:r="http://schemas.openxmlformats.org/officeDocument/2006/relationships" xmlns:p="http://schemas.openxmlformats.org/presentationml/2006/main">
  <p:tag name="OTLMARKERSHAPE" val="OTL"/>
</p:tagLst>
</file>

<file path=ppt/tags/tag166.xml><?xml version="1.0" encoding="utf-8"?>
<p:tagLst xmlns:a="http://schemas.openxmlformats.org/drawingml/2006/main" xmlns:r="http://schemas.openxmlformats.org/officeDocument/2006/relationships" xmlns:p="http://schemas.openxmlformats.org/presentationml/2006/main">
  <p:tag name="OTLMARKERSHAPE" val="OTL"/>
</p:tagLst>
</file>

<file path=ppt/tags/tag167.xml><?xml version="1.0" encoding="utf-8"?>
<p:tagLst xmlns:a="http://schemas.openxmlformats.org/drawingml/2006/main" xmlns:r="http://schemas.openxmlformats.org/officeDocument/2006/relationships" xmlns:p="http://schemas.openxmlformats.org/presentationml/2006/main">
  <p:tag name="OTLMARKERSHAPE" val="OTL"/>
</p:tagLst>
</file>

<file path=ppt/tags/tag168.xml><?xml version="1.0" encoding="utf-8"?>
<p:tagLst xmlns:a="http://schemas.openxmlformats.org/drawingml/2006/main" xmlns:r="http://schemas.openxmlformats.org/officeDocument/2006/relationships" xmlns:p="http://schemas.openxmlformats.org/presentationml/2006/main">
  <p:tag name="OTLMARKERSHAPE" val="OTL"/>
</p:tagLst>
</file>

<file path=ppt/tags/tag169.xml><?xml version="1.0" encoding="utf-8"?>
<p:tagLst xmlns:a="http://schemas.openxmlformats.org/drawingml/2006/main" xmlns:r="http://schemas.openxmlformats.org/officeDocument/2006/relationships" xmlns:p="http://schemas.openxmlformats.org/presentationml/2006/main">
  <p:tag name="OTLMARKERSHAPE" val="OTL"/>
</p:tagLst>
</file>

<file path=ppt/tags/tag17.xml><?xml version="1.0" encoding="utf-8"?>
<p:tagLst xmlns:a="http://schemas.openxmlformats.org/drawingml/2006/main" xmlns:r="http://schemas.openxmlformats.org/officeDocument/2006/relationships" xmlns:p="http://schemas.openxmlformats.org/presentationml/2006/main">
  <p:tag name="OTLMARKERSHAPE" val="OTL"/>
</p:tagLst>
</file>

<file path=ppt/tags/tag170.xml><?xml version="1.0" encoding="utf-8"?>
<p:tagLst xmlns:a="http://schemas.openxmlformats.org/drawingml/2006/main" xmlns:r="http://schemas.openxmlformats.org/officeDocument/2006/relationships" xmlns:p="http://schemas.openxmlformats.org/presentationml/2006/main">
  <p:tag name="OTLMARKERSHAPE" val="OTL"/>
</p:tagLst>
</file>

<file path=ppt/tags/tag171.xml><?xml version="1.0" encoding="utf-8"?>
<p:tagLst xmlns:a="http://schemas.openxmlformats.org/drawingml/2006/main" xmlns:r="http://schemas.openxmlformats.org/officeDocument/2006/relationships" xmlns:p="http://schemas.openxmlformats.org/presentationml/2006/main">
  <p:tag name="OTLMARKERSHAPE" val="OTL"/>
</p:tagLst>
</file>

<file path=ppt/tags/tag172.xml><?xml version="1.0" encoding="utf-8"?>
<p:tagLst xmlns:a="http://schemas.openxmlformats.org/drawingml/2006/main" xmlns:r="http://schemas.openxmlformats.org/officeDocument/2006/relationships" xmlns:p="http://schemas.openxmlformats.org/presentationml/2006/main">
  <p:tag name="OTLMARKERSHAPE" val="OTL"/>
</p:tagLst>
</file>

<file path=ppt/tags/tag173.xml><?xml version="1.0" encoding="utf-8"?>
<p:tagLst xmlns:a="http://schemas.openxmlformats.org/drawingml/2006/main" xmlns:r="http://schemas.openxmlformats.org/officeDocument/2006/relationships" xmlns:p="http://schemas.openxmlformats.org/presentationml/2006/main">
  <p:tag name="OTLMARKERSHAPE" val="OTL"/>
</p:tagLst>
</file>

<file path=ppt/tags/tag174.xml><?xml version="1.0" encoding="utf-8"?>
<p:tagLst xmlns:a="http://schemas.openxmlformats.org/drawingml/2006/main" xmlns:r="http://schemas.openxmlformats.org/officeDocument/2006/relationships" xmlns:p="http://schemas.openxmlformats.org/presentationml/2006/main">
  <p:tag name="OTLMARKERSHAPE" val="OTL"/>
</p:tagLst>
</file>

<file path=ppt/tags/tag175.xml><?xml version="1.0" encoding="utf-8"?>
<p:tagLst xmlns:a="http://schemas.openxmlformats.org/drawingml/2006/main" xmlns:r="http://schemas.openxmlformats.org/officeDocument/2006/relationships" xmlns:p="http://schemas.openxmlformats.org/presentationml/2006/main">
  <p:tag name="OTLMARKERSHAPE" val="OTL"/>
</p:tagLst>
</file>

<file path=ppt/tags/tag176.xml><?xml version="1.0" encoding="utf-8"?>
<p:tagLst xmlns:a="http://schemas.openxmlformats.org/drawingml/2006/main" xmlns:r="http://schemas.openxmlformats.org/officeDocument/2006/relationships" xmlns:p="http://schemas.openxmlformats.org/presentationml/2006/main">
  <p:tag name="OTLMARKERSHAPE" val="OTL"/>
</p:tagLst>
</file>

<file path=ppt/tags/tag177.xml><?xml version="1.0" encoding="utf-8"?>
<p:tagLst xmlns:a="http://schemas.openxmlformats.org/drawingml/2006/main" xmlns:r="http://schemas.openxmlformats.org/officeDocument/2006/relationships" xmlns:p="http://schemas.openxmlformats.org/presentationml/2006/main">
  <p:tag name="OTLMARKERSHAPE" val="OTL"/>
</p:tagLst>
</file>

<file path=ppt/tags/tag178.xml><?xml version="1.0" encoding="utf-8"?>
<p:tagLst xmlns:a="http://schemas.openxmlformats.org/drawingml/2006/main" xmlns:r="http://schemas.openxmlformats.org/officeDocument/2006/relationships" xmlns:p="http://schemas.openxmlformats.org/presentationml/2006/main">
  <p:tag name="OTLMARKERSHAPE" val="OTL"/>
</p:tagLst>
</file>

<file path=ppt/tags/tag179.xml><?xml version="1.0" encoding="utf-8"?>
<p:tagLst xmlns:a="http://schemas.openxmlformats.org/drawingml/2006/main" xmlns:r="http://schemas.openxmlformats.org/officeDocument/2006/relationships" xmlns:p="http://schemas.openxmlformats.org/presentationml/2006/main">
  <p:tag name="OTLMARKERSHAPE" val="OTL"/>
</p:tagLst>
</file>

<file path=ppt/tags/tag18.xml><?xml version="1.0" encoding="utf-8"?>
<p:tagLst xmlns:a="http://schemas.openxmlformats.org/drawingml/2006/main" xmlns:r="http://schemas.openxmlformats.org/officeDocument/2006/relationships" xmlns:p="http://schemas.openxmlformats.org/presentationml/2006/main">
  <p:tag name="OTLMARKERSHAPE" val="OTL"/>
</p:tagLst>
</file>

<file path=ppt/tags/tag180.xml><?xml version="1.0" encoding="utf-8"?>
<p:tagLst xmlns:a="http://schemas.openxmlformats.org/drawingml/2006/main" xmlns:r="http://schemas.openxmlformats.org/officeDocument/2006/relationships" xmlns:p="http://schemas.openxmlformats.org/presentationml/2006/main">
  <p:tag name="OTLDATEFORMATSTRING" val="MMMM d, yy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POSITIONONTASK" val="None"/>
  <p:tag name="OTLRELATEDTASKID" val="00000000-0000-0000-0000-000000000000"/>
  <p:tag name="OTLWEEKNUMBERINGFORMAT" val="WNFormat1"/>
  <p:tag name="OTLWEEKNUMBERINGISVISIBLE" val="False"/>
  <p:tag name="OTLMTITLE" val="Executive Review"/>
  <p:tag name="OTLDATE" val="2021-03-06T23:59:00.0000000"/>
  <p:tag name="OTLMARKERSHAPE" val="OTL"/>
</p:tagLst>
</file>

<file path=ppt/tags/tag181.xml><?xml version="1.0" encoding="utf-8"?>
<p:tagLst xmlns:a="http://schemas.openxmlformats.org/drawingml/2006/main" xmlns:r="http://schemas.openxmlformats.org/officeDocument/2006/relationships" xmlns:p="http://schemas.openxmlformats.org/presentationml/2006/main">
  <p:tag name="OTLDATEFORMATSTRING" val="MMMM d, yy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POSITIONONTASK" val="None"/>
  <p:tag name="OTLRELATEDTASKID" val="00000000-0000-0000-0000-000000000000"/>
  <p:tag name="OTLWEEKNUMBERINGFORMAT" val="WNFormat1"/>
  <p:tag name="OTLWEEKNUMBERINGISVISIBLE" val="False"/>
  <p:tag name="OTLMTITLE" val="Release to BAU"/>
  <p:tag name="OTLDATE" val="2021-03-26T23:59:00.0000000"/>
  <p:tag name="OTLMARKERSHAPE" val="OTL"/>
</p:tagLst>
</file>

<file path=ppt/tags/tag182.xml><?xml version="1.0" encoding="utf-8"?>
<p:tagLst xmlns:a="http://schemas.openxmlformats.org/drawingml/2006/main" xmlns:r="http://schemas.openxmlformats.org/officeDocument/2006/relationships" xmlns:p="http://schemas.openxmlformats.org/presentationml/2006/main">
  <p:tag name="OTLDATEFORMATSTRING" val="MMMM d, yy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POSITIONONTASK" val="None"/>
  <p:tag name="OTLRELATEDTASKID" val="00000000-0000-0000-0000-000000000000"/>
  <p:tag name="OTLWEEKNUMBERINGFORMAT" val="WNFormat1"/>
  <p:tag name="OTLWEEKNUMBERINGISVISIBLE" val="False"/>
  <p:tag name="OTLMTITLE" val="Beta Release"/>
  <p:tag name="OTLDATE" val="2020-12-21T23:59:00.0000000"/>
  <p:tag name="OTLMARKERSHAPE" val="OTL"/>
</p:tagLst>
</file>

<file path=ppt/tags/tag183.xml><?xml version="1.0" encoding="utf-8"?>
<p:tagLst xmlns:a="http://schemas.openxmlformats.org/drawingml/2006/main" xmlns:r="http://schemas.openxmlformats.org/officeDocument/2006/relationships" xmlns:p="http://schemas.openxmlformats.org/presentationml/2006/main">
  <p:tag name="OTLDATEFORMATSTRING" val="MMMM d, yy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DATE" val="2020-09-21T23:59:00.0000000"/>
  <p:tag name="OTLPOSITIONONTASK" val="None"/>
  <p:tag name="OTLRELATEDTASKID" val="00000000-0000-0000-0000-000000000000"/>
  <p:tag name="OTLMTITLE" val="Project Kick-off"/>
  <p:tag name="OTLMARKERSHAPE" val="OTL"/>
</p:tagLst>
</file>

<file path=ppt/tags/tag184.xml><?xml version="1.0" encoding="utf-8"?>
<p:tagLst xmlns:a="http://schemas.openxmlformats.org/drawingml/2006/main" xmlns:r="http://schemas.openxmlformats.org/officeDocument/2006/relationships" xmlns:p="http://schemas.openxmlformats.org/presentationml/2006/main">
  <p:tag name="OTLDATEFORMATSTRING" val="MMMM d, yy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MTITLE" val="Inception"/>
  <p:tag name="OTLDATE" val="2020-08-03T23:59:00.0000000"/>
  <p:tag name="OTLPOSITIONONTASK" val="None"/>
  <p:tag name="OTLRELATEDTASKID" val="00000000-0000-0000-0000-000000000000"/>
  <p:tag name="OTLMARKERSHAPE" val="OTL"/>
</p:tagLst>
</file>

<file path=ppt/tags/tag185.xml><?xml version="1.0" encoding="utf-8"?>
<p:tagLst xmlns:a="http://schemas.openxmlformats.org/drawingml/2006/main" xmlns:r="http://schemas.openxmlformats.org/officeDocument/2006/relationships" xmlns:p="http://schemas.openxmlformats.org/presentationml/2006/main">
  <p:tag name="OTLMARKERSHAPE" val="OTL"/>
</p:tagLst>
</file>

<file path=ppt/tags/tag186.xml><?xml version="1.0" encoding="utf-8"?>
<p:tagLst xmlns:a="http://schemas.openxmlformats.org/drawingml/2006/main" xmlns:r="http://schemas.openxmlformats.org/officeDocument/2006/relationships" xmlns:p="http://schemas.openxmlformats.org/presentationml/2006/main">
  <p:tag name="OTLMARKERSHAPE" val="OTL"/>
</p:tagLst>
</file>

<file path=ppt/tags/tag187.xml><?xml version="1.0" encoding="utf-8"?>
<p:tagLst xmlns:a="http://schemas.openxmlformats.org/drawingml/2006/main" xmlns:r="http://schemas.openxmlformats.org/officeDocument/2006/relationships" xmlns:p="http://schemas.openxmlformats.org/presentationml/2006/main">
  <p:tag name="OTLMARKERSHAPE" val="OTL"/>
</p:tagLst>
</file>

<file path=ppt/tags/tag188.xml><?xml version="1.0" encoding="utf-8"?>
<p:tagLst xmlns:a="http://schemas.openxmlformats.org/drawingml/2006/main" xmlns:r="http://schemas.openxmlformats.org/officeDocument/2006/relationships" xmlns:p="http://schemas.openxmlformats.org/presentationml/2006/main">
  <p:tag name="OTLMARKERSHAPE" val="OTL"/>
</p:tagLst>
</file>

<file path=ppt/tags/tag189.xml><?xml version="1.0" encoding="utf-8"?>
<p:tagLst xmlns:a="http://schemas.openxmlformats.org/drawingml/2006/main" xmlns:r="http://schemas.openxmlformats.org/officeDocument/2006/relationships" xmlns:p="http://schemas.openxmlformats.org/presentationml/2006/main">
  <p:tag name="OTLMARKERSHAPE" val="OTL"/>
</p:tagLst>
</file>

<file path=ppt/tags/tag19.xml><?xml version="1.0" encoding="utf-8"?>
<p:tagLst xmlns:a="http://schemas.openxmlformats.org/drawingml/2006/main" xmlns:r="http://schemas.openxmlformats.org/officeDocument/2006/relationships" xmlns:p="http://schemas.openxmlformats.org/presentationml/2006/main">
  <p:tag name="OTLMARKERSHAPE" val="OTL"/>
</p:tagLst>
</file>

<file path=ppt/tags/tag190.xml><?xml version="1.0" encoding="utf-8"?>
<p:tagLst xmlns:a="http://schemas.openxmlformats.org/drawingml/2006/main" xmlns:r="http://schemas.openxmlformats.org/officeDocument/2006/relationships" xmlns:p="http://schemas.openxmlformats.org/presentationml/2006/main">
  <p:tag name="OTLMARKERSHAPE" val="OTL"/>
</p:tagLst>
</file>

<file path=ppt/tags/tag191.xml><?xml version="1.0" encoding="utf-8"?>
<p:tagLst xmlns:a="http://schemas.openxmlformats.org/drawingml/2006/main" xmlns:r="http://schemas.openxmlformats.org/officeDocument/2006/relationships" xmlns:p="http://schemas.openxmlformats.org/presentationml/2006/main">
  <p:tag name="OTLMARKERSHAPE" val="OTL"/>
</p:tagLst>
</file>

<file path=ppt/tags/tag192.xml><?xml version="1.0" encoding="utf-8"?>
<p:tagLst xmlns:a="http://schemas.openxmlformats.org/drawingml/2006/main" xmlns:r="http://schemas.openxmlformats.org/officeDocument/2006/relationships" xmlns:p="http://schemas.openxmlformats.org/presentationml/2006/main">
  <p:tag name="OTLMARKERSHAPE" val="OTL"/>
</p:tagLst>
</file>

<file path=ppt/tags/tag193.xml><?xml version="1.0" encoding="utf-8"?>
<p:tagLst xmlns:a="http://schemas.openxmlformats.org/drawingml/2006/main" xmlns:r="http://schemas.openxmlformats.org/officeDocument/2006/relationships" xmlns:p="http://schemas.openxmlformats.org/presentationml/2006/main">
  <p:tag name="OTLMARKERSHAPE" val="OTL"/>
</p:tagLst>
</file>

<file path=ppt/tags/tag194.xml><?xml version="1.0" encoding="utf-8"?>
<p:tagLst xmlns:a="http://schemas.openxmlformats.org/drawingml/2006/main" xmlns:r="http://schemas.openxmlformats.org/officeDocument/2006/relationships" xmlns:p="http://schemas.openxmlformats.org/presentationml/2006/main">
  <p:tag name="OTLMARKERSHAPE" val="OT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1QvJT_RTJhq2fkw1zC1hCA"/>
</p:tagLst>
</file>

<file path=ppt/tags/tag20.xml><?xml version="1.0" encoding="utf-8"?>
<p:tagLst xmlns:a="http://schemas.openxmlformats.org/drawingml/2006/main" xmlns:r="http://schemas.openxmlformats.org/officeDocument/2006/relationships" xmlns:p="http://schemas.openxmlformats.org/presentationml/2006/main">
  <p:tag name="OTLMARKERSHAPE" val="OTL"/>
</p:tagLst>
</file>

<file path=ppt/tags/tag21.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DURATIONFORMAT" val="day"/>
  <p:tag name="OTLSPACING" val="3"/>
  <p:tag name="OTLSHAPETHICKNESSTYPE" val="Thin"/>
  <p:tag name="OTLWEEKNUMBERINGFORMAT" val="WNFormat1"/>
  <p:tag name="OTLWEEKNUMBERINGISVISIBLE" val="False"/>
  <p:tag name="OTLSTARTDATE" val="2020-09-21T23:59:00.0000000Z"/>
  <p:tag name="OTLENDDATE" val="2020-09-22T23:59:00.0000000Z"/>
  <p:tag name="OTLMARKERSHAPE" val="OTL"/>
</p:tagLst>
</file>

<file path=ppt/tags/tag22.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DURATIONFORMAT" val="day"/>
  <p:tag name="OTLSHAPETHICKNESSTYPE" val="Thin"/>
  <p:tag name="OTLWEEKNUMBERINGFORMAT" val="WNFormat1"/>
  <p:tag name="OTLWEEKNUMBERINGISVISIBLE" val="False"/>
  <p:tag name="OTLSTARTDATE" val="2020-09-21T23:59:00.0000000Z"/>
  <p:tag name="OTLENDDATE" val="2020-10-02T23:59:00.0000000Z"/>
  <p:tag name="OTLSPACING" val="3"/>
  <p:tag name="OTLMARKERSHAPE" val="OTL"/>
</p:tagLst>
</file>

<file path=ppt/tags/tag23.xml><?xml version="1.0" encoding="utf-8"?>
<p:tagLst xmlns:a="http://schemas.openxmlformats.org/drawingml/2006/main" xmlns:r="http://schemas.openxmlformats.org/officeDocument/2006/relationships" xmlns:p="http://schemas.openxmlformats.org/presentationml/2006/main">
  <p:tag name="OTLDATEFORMATSTRING" val="M/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DURATIONFORMAT" val="day"/>
  <p:tag name="OTLWEEKNUMBERINGFORMAT" val="WNFormat1"/>
  <p:tag name="OTLWEEKNUMBERINGISVISIBLE" val="False"/>
  <p:tag name="OTLSTARTDATE" val="2020-10-05T23:59:00.0000000Z"/>
  <p:tag name="OTLENDDATE" val="2020-10-16T23:59:00.0000000Z"/>
  <p:tag name="OTLSPACING" val="3"/>
  <p:tag name="OTLSHAPETHICKNESSTYPE" val="Thin"/>
  <p:tag name="OTLMARKERSHAPE" val="OTL"/>
</p:tagLst>
</file>

<file path=ppt/tags/tag24.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0-11-02T23:59:00.0000000Z"/>
  <p:tag name="OTLENDDATE" val="2020-11-13T23:59:00.0000000Z"/>
  <p:tag name="OTLDURATIONFORMAT" val="day"/>
  <p:tag name="OTLSHAPETHICKNESSTYPE" val="Thin"/>
  <p:tag name="OTLSPACING" val="3"/>
  <p:tag name="OTLMARKERSHAPE" val="OTL"/>
</p:tagLst>
</file>

<file path=ppt/tags/tag25.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0-11-16T23:59:00.0000000Z"/>
  <p:tag name="OTLENDDATE" val="2020-11-27T23:59:00.0000000Z"/>
  <p:tag name="OTLDURATIONFORMAT" val="day"/>
  <p:tag name="OTLSPACING" val="3"/>
  <p:tag name="OTLSHAPETHICKNESSTYPE" val="Thin"/>
  <p:tag name="OTLMARKERSHAPE" val="OTL"/>
</p:tagLst>
</file>

<file path=ppt/tags/tag26.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0-10-19T23:59:00.0000000Z"/>
  <p:tag name="OTLENDDATE" val="2020-10-30T23:59:00.0000000Z"/>
  <p:tag name="OTLDURATIONFORMAT" val="day"/>
  <p:tag name="OTLSPACING" val="3"/>
  <p:tag name="OTLSHAPETHICKNESSTYPE" val="Thin"/>
  <p:tag name="OTLMARKERSHAPE" val="OTL"/>
</p:tagLst>
</file>

<file path=ppt/tags/tag27.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0-09-21T23:59:00.0000000Z"/>
  <p:tag name="OTLENDDATE" val="2020-10-02T23:59:00.0000000Z"/>
  <p:tag name="OTLDURATIONFORMAT" val="day"/>
  <p:tag name="OTLSPACING" val="3"/>
  <p:tag name="OTLSHAPETHICKNESSTYPE" val="Thin"/>
  <p:tag name="OTLMARKERSHAPE" val="OTL"/>
</p:tagLst>
</file>

<file path=ppt/tags/tag28.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0-10-05T23:59:00.0000000Z"/>
  <p:tag name="OTLENDDATE" val="2020-10-16T23:59:00.0000000Z"/>
  <p:tag name="OTLDURATIONFORMAT" val="day"/>
  <p:tag name="OTLSPACING" val="3"/>
  <p:tag name="OTLSHAPETHICKNESSTYPE" val="Thin"/>
  <p:tag name="OTLMARKERSHAPE" val="OTL"/>
</p:tagLst>
</file>

<file path=ppt/tags/tag29.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DURATIONFORMAT" val="day"/>
  <p:tag name="OTLSPACING" val="3"/>
  <p:tag name="OTLSHAPETHICKNESSTYPE" val="Thin"/>
  <p:tag name="OTLSTARTDATE" val="2020-11-30T23:59:00.0000000Z"/>
  <p:tag name="OTLENDDATE" val="2020-12-11T23:59:00.0000000Z"/>
  <p:tag name="OTLMARKERSHAPE" val="OTL"/>
</p:tagLst>
</file>

<file path=ppt/tags/tag3.xml><?xml version="1.0" encoding="utf-8"?>
<p:tagLst xmlns:a="http://schemas.openxmlformats.org/drawingml/2006/main" xmlns:r="http://schemas.openxmlformats.org/officeDocument/2006/relationships" xmlns:p="http://schemas.openxmlformats.org/presentationml/2006/main">
  <p:tag name="__PART_0" val="eyIkaWQiOiIxIiwiQ3VsdHVyZUluZm9OYW1lIjoiZW4tVVMiLCJTdHlsZU5hbWUiOm51bGwsIlZlcnNpb24iOnsiJGlkIjoiMiIsIlZlcnNpb24iOiIzLjMuMSIsIk9yaWdpbmFsQXNzZW1ibHlWZXJzaW9uIjoiMy4yMC4wNC4wMCIsIkVkaXRpb24iOiJQcm8iLCJJc1BsdXNFZGl0aW9uIjp0cnVlLCJJc1Byb0VkaXRpb24iOnRydWV9LCJFZmZlY3QiOjAsIlN0eWxlIjp7IiRpZCI6IjMiLCJUaW1lYmFuZFN0eWxlIjp7IiRpZCI6IjQiLCJTY2FsZU1hcmtpbmciOjAsIlNoYXBlIjowLCJTaGFwZVN0eWxlIjp7IiRpZCI6IjUiLCJNYXJnaW4iOnsiJGlkIjoiNiIsIlRvcCI6MCwiTGVmdCI6MTIsIlJpZ2h0IjoxMiwiQm90dG9tIjowfSwiUGFkZGluZyI6eyIkaWQiOiI3IiwiVG9wIjo3LCJMZWZ0IjowLCJSaWdodCI6MCwiQm90dG9tIjo3fSwiQmFja2dyb3VuZCI6eyIkaWQiOiI4IiwiQ29sb3IiOnsiJGlkIjoiOSIsIkEiOjI1NSwiUiI6ODksIkciOjg5LCJCIjo4OX19LCJJc1Zpc2libGUiOnRydWUsIldpZHRoIjo4NTguMCwiSGVpZ2h0IjozMC4wLCJCb3JkZXJTdHlsZSI6eyIkaWQiOiIxMCIsIkxpbmVDb2xvciI6eyIkaWQiOiIxMSIsIiR0eXBlIjoiTkxSRS5Db21tb24uRG9tLlNvbGlkQ29sb3JCcnVzaCwgTkxSRS5Db21tb24iLCJDb2xvciI6eyIkaWQiOiIxMiIsIkEiOjI1NSwiUiI6MjU1LCJHIjowLCJCIjowfX0sIkxpbmVXZWlnaHQiOjAuMCwiTGluZVR5cGUiOjAsIlBhcmVudFN0eWxlIjpudWxsfSwiUGFyZW50U3R5bGUiOm51bGx9LCJSaWdodEVuZENhcHNTdHlsZSI6eyIkaWQiOiIxMyIsIkZvbnRTZXR0aW5ncyI6eyIkaWQiOiIxNCIsIkZvbnRTaXplIjoxOCwiRm9udE5hbWUiOiJDYWxpYnJpIiwiSXNCb2xkIjp0cnVlLCJJc0l0YWxpYyI6ZmFsc2UsIklzVW5kZXJsaW5lZCI6ZmFsc2UsIlBhcmVudFN0eWxlIjpudWxsfSwiQXV0b1NpemUiOjAsIkZvcmVncm91bmQiOnsiJGlkIjoiMTUiLCJDb2xvciI6eyIkaWQiOiIxNiIsIkEiOjI1NSwiUiI6MjM3LCJHIjoxMjUsIkIiOjQ5fX0sIk1heFdpZHRoIjoiSW5maW5pdHkiLCJNYXhIZWlnaHQiOiJJbmZpbml0eSIsIlNtYXJ0Rm9yZWdyb3VuZElzQWN0aXZlIjpmYWxzZSwiSG9yaXpvbnRhbEFsaWdubWVudCI6MCwiVmVydGljYWxBbGlnbm1lbnQiOjAsIlNtYXJ0Rm9yZWdyb3VuZCI6bnVsbCwiQmFja2dyb3VuZEZpbGxUeXBlIjowLCJNYXJnaW4iOnsiJGlkIjoiMTciLCJUb3AiOjAsIkxlZnQiOjAsIlJpZ2h0IjoyNSwiQm90dG9tIjowfSwiUGFkZGluZyI6eyIkaWQiOiIxOCIsIlRvcCI6MCwiTGVmdCI6MCwiUmlnaHQiOjAsIkJvdHRvbSI6MH0sIkJhY2tncm91bmQiOnsiJGlkIjoiMTkiLCJDb2xvciI6eyIkaWQiOiIyMCIsIkEiOjg5LCJSIjowLCJHIjowLCJCIjowfX0sIklzVmlzaWJsZSI6dHJ1ZSwiV2lkdGgiOjAuMCwiSGVpZ2h0IjowLjAsIkJvcmRlclN0eWxlIjpudWxsLCJQYXJlbnRTdHlsZSI6bnVsbH0sIkxlZnRFbmRDYXBzU3R5bGUiOnsiJGlkIjoiMjEiLCJGb250U2V0dGluZ3MiOnsiJGlkIjoiMjIiLCJGb250U2l6ZSI6MzYsIkZvbnROYW1lIjoiQ2FsaWJyaSIsIklzQm9sZCI6dHJ1ZSwiSXNJdGFsaWMiOmZhbHNlLCJJc1VuZGVybGluZWQiOmZhbHNlLCJQYXJlbnRTdHlsZSI6bnVsbH0sIkF1dG9TaXplIjowLCJGb3JlZ3JvdW5kIjp7IiRpZCI6IjIzIiwiQ29sb3IiOnsiJGlkIjoiMjQiLCJBIjoyNTUsIlIiOjIzNywiRyI6MTI1LCJCIjo0OX19LCJNYXhXaWR0aCI6IkluZmluaXR5IiwiTWF4SGVpZ2h0IjoiSW5maW5pdHkiLCJTbWFydEZvcmVncm91bmRJc0FjdGl2ZSI6ZmFsc2UsIkhvcml6b250YWxBbGlnbm1lbnQiOjAsIlZlcnRpY2FsQWxpZ25tZW50IjowLCJTbWFydEZvcmVncm91bmQiOm51bGwsIkJhY2tncm91bmRGaWxsVHlwZSI6MCwiTWFyZ2luIjp7IiRpZCI6IjI1IiwiVG9wIjowLCJMZWZ0IjoyNSwiUmlnaHQiOjAsIkJvdHRvbSI6MH0sIlBhZGRpbmciOnsiJGlkIjoiMjYiLCJUb3AiOjAsIkxlZnQiOjAsIlJpZ2h0IjowLCJCb3R0b20iOjB9LCJCYWNrZ3JvdW5kIjp7IiRpZCI6IjI3IiwiQ29sb3IiOnsiJHJlZiI6IjIwIn19LCJJc1Zpc2libGUiOmZhbHNlLCJXaWR0aCI6MC4wLCJIZWlnaHQiOjAuMCwiQm9yZGVyU3R5bGUiOm51bGwsIlBhcmVudFN0eWxlIjpudWxsfSwiVG9kYXlUZXh0U3R5bGUiOnsiJGlkIjoiMjgiLCJGb250U2V0dGluZ3MiOnsiJGlkIjoiMjkiLCJGb250U2l6ZSI6MTIsIkZvbnROYW1lIjoiQ2FsaWJyaSIsIklzQm9sZCI6ZmFsc2UsIklzSXRhbGljIjpmYWxzZSwiSXNVbmRlcmxpbmVkIjpmYWxzZSwiUGFyZW50U3R5bGUiOm51bGx9LCJBdXRvU2l6ZSI6MCwiRm9yZWdyb3VuZCI6eyIkaWQiOiIzMCIsIkNvbG9yIjp7IiRpZCI6IjMxIiwiQSI6MjU1LCJSIjowLCJHIjowLCJCIjowfX0sIk1heFdpZHRoIjoyMDAuMCwiTWF4SGVpZ2h0IjoiSW5maW5pdHkiLCJTbWFydEZvcmVncm91bmRJc0FjdGl2ZSI6ZmFsc2UsIkhvcml6b250YWxBbGlnbm1lbnQiOjAsIlZlcnRpY2FsQWxpZ25tZW50IjowLCJTbWFydEZvcmVncm91bmQiOm51bGwsIkJhY2tncm91bmRGaWxsVHlwZSI6MCwiTWFyZ2luIjp7IiRpZCI6IjMyIiwiVG9wIjowLCJMZWZ0IjowLCJSaWdodCI6MCwiQm90dG9tIjowfSwiUGFkZGluZyI6eyIkaWQiOiIzMyIsIlRvcCI6MCwiTGVmdCI6MCwiUmlnaHQiOjAsIkJvdHRvbSI6MH0sIkJhY2tncm91bmQiOnsiJGlkIjoiMzQiLCJDb2xvciI6eyIkcmVmIjoiMjAifX0sIklzVmlzaWJsZSI6dHJ1ZSwiV2lkdGgiOjAuMCwiSGVpZ2h0IjowLjAsIkJvcmRlclN0eWxlIjpudWxsLCJQYXJlbnRTdHlsZSI6bnVsbH0sIlRvZGF5TWFya2VyU3R5bGUiOnsiJGlkIjoiMzUiLCJNYXJnaW4iOnsiJGlkIjoiMzYiLCJUb3AiOjAsIkxlZnQiOjAsIlJpZ2h0IjowLCJCb3R0b20iOjB9LCJQYWRkaW5nIjp7IiRpZCI6IjM3IiwiVG9wIjowLCJMZWZ0IjowLCJSaWdodCI6MCwiQm90dG9tIjowfSwiQmFja2dyb3VuZCI6eyIkaWQiOiIzOCIsIkNvbG9yIjp7IiRpZCI6IjM5IiwiQSI6MjU1LCJSIjoyNTUsIkciOjAsIkIiOjB9fSwiSXNWaXNpYmxlIjp0cnVlLCJXaWR0aCI6MC4wLCJIZWlnaHQiOjAuMCwiQm9yZGVyU3R5bGUiOm51bGwsIlBhcmVudFN0eWxlIjpudWxsfSwiU2NhbGVTdHlsZSI6eyIkaWQiOiI0MCIsIlNob3dTZWdtZW50U2VwYXJhdG9ycyI6dHJ1ZSwiU2VnbWVudFNlcGFyYXRvck9wYWNpdHkiOjMwLCJGb250U2V0dGluZ3MiOnsiJGlkIjoiNDEiLCJGb250U2l6ZSI6MTIsIkZvbnROYW1lIjoiQ2FsaWJyaSIsIklzQm9sZCI6ZmFsc2UsIklzSXRhbGljIjpmYWxzZSwiSXNVbmRlcmxpbmVkIjpmYWxzZSwiUGFyZW50U3R5bGUiOm51bGx9LCJBdXRvU2l6ZSI6MCwiRm9yZWdyb3VuZCI6eyIkaWQiOiI0MiIsIkNvbG9yIjp7IiRpZCI6IjQzIiwiQSI6MjU1LCJSIjoyNTUsIkciOjI1NSwiQiI6MjU1fX0sIk1heFdpZHRoIjoyMDAuMCwiTWF4SGVpZ2h0IjoiSW5maW5pdHkiLCJTbWFydEZvcmVncm91bmRJc0FjdGl2ZSI6ZmFsc2UsIkhvcml6b250YWxBbGlnbm1lbnQiOjAsIlZlcnRpY2FsQWxpZ25tZW50IjoxLCJTbWFydEZvcmVncm91bmQiOm51bGwsIkJhY2tncm91bmRGaWxsVHlwZSI6MCwiTWFyZ2luIjp7IiRpZCI6IjQ0IiwiVG9wIjowLCJMZWZ0Ijo1LCJSaWdodCI6MCwiQm90dG9tIjowfSwiUGFkZGluZyI6eyIkaWQiOiI0NSIsIlRvcCI6MCwiTGVmdCI6MCwiUmlnaHQiOjAsIkJvdHRvbSI6MH0sIkJhY2tncm91bmQiOnsiJGlkIjoiNDYiLCJDb2xvciI6eyIkcmVmIjoiMjAifX0sIklzVmlzaWJsZSI6dHJ1ZSwiV2lkdGgiOjAuMCwiSGVpZ2h0IjowLjAsIkJvcmRlclN0eWxlIjpudWxsLCJQYXJlbnRTdHlsZSI6bnVsbH0sIkVsYXBzZWRUaW1lQmFja2dyb3VuZCI6eyIkaWQiOiI0NyIsIkNvbG9yIjp7IiRpZCI6IjQ4IiwiQSI6MTkxLCJSIjoyNTUsIkciOjAsIkIiOjB9fSwiQXBwZW5kWWVhck9uWWVhckNoYW5nZSI6dHJ1ZSwiRWxhcHNlZFRpbWVGb3JtYXQiOjAsIlRvZGF5TWFya2VyUG9zaXRpb24iOjAsIlF1aWNrUG9zaXRpb24iOjMsIkFic29sdXRlUG9zaXRpb24iOjgzLjI1LCJNYXJnaW4iOnsiJGlkIjoiNDkiLCJUb3AiOjAsIkxlZnQiOjEwLCJSaWdodCI6MTAsIkJvdHRvbSI6MH0sIlBhZGRpbmciOnsiJGlkIjoiNTAiLCJUb3AiOjAsIkxlZnQiOjAsIlJpZ2h0IjowLCJCb3R0b20iOjB9LCJCYWNrZ3JvdW5kIjp7IiRpZCI6IjUxIiwiQ29sb3IiOnsiJGlkIjoiNTIiLCJBIjoyNTUsIlIiOjQ3LCJHIjo1NCwiQiI6MTUzfX0sIklzVmlzaWJsZSI6dHJ1ZSwiV2lkdGgiOjAuMCwiSGVpZ2h0IjowLjAsIkJvcmRlclN0eWxlIjpudWxsLCJQYXJlbnRTdHlsZSI6bnVsbH0sIkRlZmF1bHRNaWxlc3RvbmVTdHlsZSI6eyIkaWQiOiI1MyIsIlNoYXBlIjowLCJDb25uZWN0b3JNYXJnaW4iOnsiJGlkIjoiNTQiLCJUb3AiOjAsIkxlZnQiOjIsIlJpZ2h0IjoyLCJCb3R0b20iOjB9LCJDb25uZWN0b3JTdHlsZSI6eyIkaWQiOiI1NSIsIkxpbmVDb2xvciI6eyIkaWQiOiI1NiIsIiR0eXBlIjoiTkxSRS5Db21tb24uRG9tLlNvbGlkQ29sb3JCcnVzaCwgTkxSRS5Db21tb24iLCJDb2xvciI6eyIkaWQiOiI1NyIsIkEiOjEyNywiUiI6NzksIkciOjEyOSwiQiI6MTg5fX0sIkxpbmVXZWlnaHQiOjEuMCwiTGluZVR5cGUiOjAsIlBhcmVudFN0eWxlIjpudWxsfSwiSXNCZWxvd1RpbWViYW5kIjpmYWxzZSwiUG9zaXRpb25PblRhc2siOjAsIkhpZGVEYXRlIjpmYWxzZSwiU2hhcGVTaXplIjoxLCJTcGFjaW5nIjoxLjAsIlBhZGRpbmciOnsiJGlkIjoiNTgiLCJUb3AiOjcsIkxlZnQiOjMsIlJpZ2h0IjowLCJCb3R0b20iOjJ9LCJTaGFwZVN0eWxlIjp7IiRpZCI6IjU5IiwiTWFyZ2luIjp7IiRpZCI6IjYwIiwiVG9wIjowLCJMZWZ0IjowLCJSaWdodCI6MCwiQm90dG9tIjowfSwiUGFkZGluZyI6eyIkaWQiOiI2MSIsIlRvcCI6MCwiTGVmdCI6MCwiUmlnaHQiOjAsIkJvdHRvbSI6MH0sIkJhY2tncm91bmQiOnsiJGlkIjoiNjIiLCJDb2xvciI6eyIkaWQiOiI2MyIsIkEiOjI1NSwiUiI6MCwiRyI6MTE0LCJCIjoxODh9fSwiSXNWaXNpYmxlIjp0cnVlLCJXaWR0aCI6MTguMCwiSGVpZ2h0IjoyMC4wLCJCb3JkZXJTdHlsZSI6eyIkaWQiOiI2NCIsIkxpbmVDb2xvciI6eyIkaWQiOiI2NSIsIiR0eXBlIjoiTkxSRS5Db21tb24uRG9tLlNvbGlkQ29sb3JCcnVzaCwgTkxSRS5Db21tb24iLCJDb2xvciI6eyIkaWQiOiI2NiIsIkEiOjI1NSwiUiI6MjU1LCJHIjowLCJCIjowfX0sIkxpbmVXZWlnaHQiOjAuMCwiTGluZVR5cGUiOjAsIlBhcmVudFN0eWxlIjpudWxsfSwiUGFyZW50U3R5bGUiOm51bGx9LCJUaXRsZVN0eWxlIjp7IiRpZCI6IjY3IiwiRm9udFNldHRpbmdzIjp7IiRpZCI6IjY4IiwiRm9udFNpemUiOjgsIkZvbnROYW1lIjoiQ2FsaWJyaSIsIklzQm9sZCI6ZmFsc2UsIklzSXRhbGljIjpmYWxzZSwiSXNVbmRlcmxpbmVkIjpmYWxzZSwiUGFyZW50U3R5bGUiOm51bGx9LCJBdXRvU2l6ZSI6MCwiRm9yZWdyb3VuZCI6eyIkaWQiOiI2OSIsIkNvbG9yIjp7IiRpZCI6IjcwIiwiQSI6MjU1LCJSIjowLCJHIjowLCJCIjowfX0sIk1heFdpZHRoIjoyMDAuMCwiTWF4SGVpZ2h0IjoiSW5maW5pdHkiLCJTbWFydEZvcmVncm91bmRJc0FjdGl2ZSI6ZmFsc2UsIkhvcml6b250YWxBbGlnbm1lbnQiOjEsIlZlcnRpY2FsQWxpZ25tZW50IjowLCJTbWFydEZvcmVncm91bmQiOm51bGwsIkJhY2tncm91bmRGaWxsVHlwZSI6MCwiTWFyZ2luIjp7IiRpZCI6IjcxIiwiVG9wIjowLCJMZWZ0IjowLCJSaWdodCI6MCwiQm90dG9tIjowfSwiUGFkZGluZyI6eyIkaWQiOiI3MiIsIlRvcCI6MCwiTGVmdCI6MCwiUmlnaHQiOjAsIkJvdHRvbSI6MH0sIkJhY2tncm91bmQiOnsiJGlkIjoiNzMiLCJDb2xvciI6eyIkcmVmIjoiMjAifX0sIklzVmlzaWJsZSI6dHJ1ZSwiV2lkdGgiOjAuMCwiSGVpZ2h0IjowLjAsIkJvcmRlclN0eWxlIjpudWxsLCJQYXJlbnRTdHlsZSI6bnVsbH0sIkRhdGVTdHlsZSI6eyIkaWQiOiI3NCIsIkZvbnRTZXR0aW5ncyI6eyIkaWQiOiI3NSIsIkZvbnRTaXplIjo4LCJGb250TmFtZSI6IkNhbGlicmkiLCJJc0JvbGQiOmZhbHNlLCJJc0l0YWxpYyI6ZmFsc2UsIklzVW5kZXJsaW5lZCI6ZmFsc2UsIlBhcmVudFN0eWxlIjpudWxsfSwiQXV0b1NpemUiOjAsIkZvcmVncm91bmQiOnsiJGlkIjoiNzYiLCJDb2xvciI6eyIkaWQiOiI3NyIsIkEiOjI1NSwiUiI6NjgsIkciOjg0LCJCIjoxMDZ9fSwiTWF4V2lkdGgiOjIwMC4wLCJNYXhIZWlnaHQiOiJJbmZpbml0eSIsIlNtYXJ0Rm9yZWdyb3VuZElzQWN0aXZlIjpmYWxzZSwiSG9yaXpvbnRhbEFsaWdubWVudCI6MCwiVmVydGljYWxBbGlnbm1lbnQiOjAsIlNtYXJ0Rm9yZWdyb3VuZCI6bnVsbCwiQmFja2dyb3VuZEZpbGxUeXBlIjowLCJNYXJnaW4iOnsiJGlkIjoiNzgiLCJUb3AiOjAsIkxlZnQiOjAsIlJpZ2h0IjowLCJCb3R0b20iOjB9LCJQYWRkaW5nIjp7IiRpZCI6Ijc5IiwiVG9wIjowLCJMZWZ0IjowLCJSaWdodCI6MCwiQm90dG9tIjowfSwiQmFja2dyb3VuZCI6eyIkaWQiOiI4MCIsIkNvbG9yIjp7IiRyZWYiOiIyMCJ9fSwiSXNWaXNpYmxlIjp0cnVlLCJXaWR0aCI6MC4wLCJIZWlnaHQiOjAuMCwiQm9yZGVyU3R5bGUiOm51bGwsIlBhcmVudFN0eWxlIjpudWxsfSwiRGF0ZUZvcm1hdCI6eyIkaWQiOiI4MSIsIkZvcm1hdFN0cmluZyI6Ik1NTU0gZCwgeXl5eSIsIlNlcGFyYXRvciI6Ii8iLCJVc2VJbnRlcm5hdGlvbmFsRGF0ZUZvcm1hdCI6ZmFsc2UsIkRhdGVJc1Zpc2libGUiOnRydWUsIlRpbWVJc1Zpc2libGUiOmZhbHNlLCJIb3VyRGlnaXRzIjoxLCJBbVBtRGVzaWduYXRvciI6MiwiVHJpbTAwTWludXRlcyI6ZmFsc2UsIkxhc3RLbm93blZpc2liaWxpdHlTdGF0ZSI6eyIkaWQiOiI4MiIsIkRhdGVQYXJ0SXNWaXNpYmxlIjp0cnVlLCJUaW1lUGFydElzVmlzaWJsZSI6ZmFsc2V9fSwiV2Vla051bWJlcmluZyI6eyIkaWQiOiI4MyIsIkZvcm1hdCI6MCwiSXNWaXNpYmxlIjpmYWxzZSwiTGFzdEtub3duVmlzaWJpbGl0eVN0YXRlIjpmYWxzZX0sIklzVmlzaWJsZSI6dHJ1ZSwiUGFyZW50U3R5bGUiOm51bGx9LCJEZWZhdWx0VGFza1N0eWxlIjp7IiRpZCI6Ijg0IiwiU2hhcGUiOjAsIlNoYXBlVGhpY2tuZXNzIjowLCJEdXJhdGlvbkZvcm1hdCI6MCwiSW5jbHVkZU5vbldvcmtpbmdEYXlzSW5EdXJhdGlvbiI6ZmFsc2UsIlBlcmNlbnRhZ2VDb21wbGV0ZVN0eWxlIjp7IiRpZCI6Ijg1IiwiRm9udFNldHRpbmdzIjp7IiRpZCI6Ijg2IiwiRm9udFNpemUiOjEwLCJGb250TmFtZSI6IkNhbGlicmkiLCJJc0JvbGQiOmZhbHNlLCJJc0l0YWxpYyI6ZmFsc2UsIklzVW5kZXJsaW5lZCI6ZmFsc2UsIlBhcmVudFN0eWxlIjpudWxsfSwiQXV0b1NpemUiOjAsIkZvcmVncm91bmQiOnsiJGlkIjoiODciLCJDb2xvciI6eyIkaWQiOiI4OCIsIkEiOjI1NSwiUiI6MTkyLCJHIjo4MCwiQiI6Nzd9fSwiTWF4V2lkdGgiOjIwMC4wLCJNYXhIZWlnaHQiOiJJbmZpbml0eSIsIlNtYXJ0Rm9yZWdyb3VuZElzQWN0aXZlIjpmYWxzZSwiSG9yaXpvbnRhbEFsaWdubWVudCI6MCwiVmVydGljYWxBbGlnbm1lbnQiOjAsIlNtYXJ0Rm9yZWdyb3VuZCI6bnVsbCwiQmFja2dyb3VuZEZpbGxUeXBlIjowLCJNYXJnaW4iOnsiJGlkIjoiODkiLCJUb3AiOjAsIkxlZnQiOjAsIlJpZ2h0IjowLCJCb3R0b20iOjB9LCJQYWRkaW5nIjp7IiRpZCI6IjkwIiwiVG9wIjowLCJMZWZ0IjowLCJSaWdodCI6MCwiQm90dG9tIjowfSwiQmFja2dyb3VuZCI6eyIkaWQiOiI5MSIsIkNvbG9yIjp7IiRyZWYiOiIyMCJ9fSwiSXNWaXNpYmxlIjp0cnVlLCJXaWR0aCI6MC4wLCJIZWlnaHQiOjAuMCwiQm9yZGVyU3R5bGUiOm51bGwsIlBhcmVudFN0eWxlIjpudWxsfSwiRHVyYXRpb25TdHlsZSI6eyIkaWQiOiI5MiIsIkZvbnRTZXR0aW5ncyI6eyIkaWQiOiI5MyIsIkZvbnRTaXplIjoxMCwiRm9udE5hbWUiOiJDYWxpYnJpIiwiSXNCb2xkIjpmYWxzZSwiSXNJdGFsaWMiOmZhbHNlLCJJc1VuZGVybGluZWQiOmZhbHNlLCJQYXJlbnRTdHlsZSI6bnVsbH0sIkF1dG9TaXplIjowLCJGb3JlZ3JvdW5kIjp7IiRpZCI6Ijk0IiwiQ29sb3IiOnsiJGlkIjoiOTUiLCJBIjoyNTUsIlIiOjIzNywiRyI6MTI1LCJCIjo0OX19LCJNYXhXaWR0aCI6MjAwLjAsIk1heEhlaWdodCI6IkluZmluaXR5IiwiU21hcnRGb3JlZ3JvdW5kSXNBY3RpdmUiOmZhbHNlLCJIb3Jpem9udGFsQWxpZ25tZW50IjowLCJWZXJ0aWNhbEFsaWdubWVudCI6MCwiU21hcnRGb3JlZ3JvdW5kIjpudWxsLCJCYWNrZ3JvdW5kRmlsbFR5cGUiOjAsIk1hcmdpbiI6eyIkaWQiOiI5NiIsIlRvcCI6MCwiTGVmdCI6MCwiUmlnaHQiOjAsIkJvdHRvbSI6MH0sIlBhZGRpbmciOnsiJGlkIjoiOTciLCJUb3AiOjAsIkxlZnQiOjAsIlJpZ2h0IjowLCJCb3R0b20iOjB9LCJCYWNrZ3JvdW5kIjp7IiRpZCI6Ijk4IiwiQ29sb3IiOnsiJHJlZiI6IjIwIn19LCJJc1Zpc2libGUiOnRydWUsIldpZHRoIjowLjAsIkhlaWdodCI6MC4wLCJCb3JkZXJTdHlsZSI6bnVsbCwiUGFyZW50U3R5bGUiOm51bGx9LCJIb3Jpem9udGFsQ29ubmVjdG9yU3R5bGUiOnsiJGlkIjoiOTkiLCJMaW5lQ29sb3IiOnsiJGlkIjoiMTAwIiwiJHR5cGUiOiJOTFJFLkNvbW1vbi5Eb20uU29saWRDb2xvckJydXNoLCBOTFJFLkNvbW1vbiIsIkNvbG9yIjp7IiRpZCI6IjEwMSIsIkEiOjI1NSwiUiI6MjA0LCJHIjoyMDQsIkIiOjIwNH19LCJMaW5lV2VpZ2h0IjoxLjAsIkxpbmVUeXBlIjowLCJQYXJlbnRTdHlsZSI6bnVsbH0sIlZlcnRpY2FsQ29ubmVjdG9yU3R5bGUiOnsiJGlkIjoiMTAyIiwiTGluZUNvbG9yIjp7IiRpZCI6IjEwMyIsIiR0eXBlIjoiTkxSRS5Db21tb24uRG9tLlNvbGlkQ29sb3JCcnVzaCwgTkxSRS5Db21tb24iLCJDb2xvciI6eyIkaWQiOiIxMDQiLCJBIjoyNTUsIlIiOjIwNCwiRyI6MjA0LCJCIjoyMDR9fSwiTGluZVdlaWdodCI6MC4wLCJMaW5lVHlwZSI6MCwiUGFyZW50U3R5bGUiOm51bGx9LCJNYXJnaW4iOm51bGwsIlN0YXJ0RGF0ZVBvc2l0aW9uIjo0LCJFbmREYXRlUG9zaXRpb24iOjQsIkRhdGVJc1Zpc2libGUiOnRydWUsIlRpdGxlUG9zaXRpb24iOjIsIkR1cmF0aW9uUG9zaXRpb24iOjYsIlBlcmNlbnRhZ2VDb21wbGV0ZWRQb3NpdGlvbiI6NiwiU3BhY2luZyI6MywiSXNCZWxvd1RpbWViYW5kIjp0cnVlLCJQZXJjZW50YWdlQ29tcGxldGVTaGFwZU9wYWNpdHkiOjM1LCJTaGFwZVN0eWxlIjp7IiRpZCI6IjEwNSIsIk1hcmdpbiI6eyIkaWQiOiIxMDYiLCJUb3AiOjAsIkxlZnQiOjQsIlJpZ2h0Ijo0LCJCb3R0b20iOjB9LCJQYWRkaW5nIjp7IiRpZCI6IjEwNyIsIlRvcCI6MCwiTGVmdCI6MCwiUmlnaHQiOjAsIkJvdHRvbSI6MH0sIkJhY2tncm91bmQiOnsiJGlkIjoiMTA4IiwiQ29sb3IiOnsiJGlkIjoiMTA5IiwiQSI6MjU1LCJSIjowLCJHIjoxMTQsIkIiOjE4OH19LCJJc1Zpc2libGUiOnRydWUsIldpZHRoIjowLjAsIkhlaWdodCI6MTAuMCwiQm9yZGVyU3R5bGUiOnsiJGlkIjoiMTEwIiwiTGluZUNvbG9yIjp7IiRpZCI6IjExMSIsIiR0eXBlIjoiTkxSRS5Db21tb24uRG9tLlNvbGlkQ29sb3JCcnVzaCwgTkxSRS5Db21tb24iLCJDb2xvciI6eyIkaWQiOiIxMTIiLCJBIjoyNTUsIlIiOjI1NSwiRyI6MCwiQiI6MH19LCJMaW5lV2VpZ2h0IjowLjAsIkxpbmVUeXBlIjowLCJQYXJlbnRTdHlsZSI6bnVsbH0sIlBhcmVudFN0eWxlIjpudWxsfSwiVGl0bGVTdHlsZSI6eyIkaWQiOiIxMTMiLCJGb250U2V0dGluZ3MiOnsiJGlkIjoiMTE0IiwiRm9udFNpemUiOjExLCJGb250TmFtZSI6IkNhbGlicmkiLCJJc0JvbGQiOnRydWUsIklzSXRhbGljIjpmYWxzZSwiSXNVbmRlcmxpbmVkIjpmYWxzZSwiUGFyZW50U3R5bGUiOm51bGx9LCJBdXRvU2l6ZSI6MCwiRm9yZWdyb3VuZCI6eyIkaWQiOiIxMTUiLCJDb2xvciI6eyIkaWQiOiIxMTYiLCJBIjoyNTUsIlIiOjAsIkciOjAsIkIiOjB9fSwiTWF4V2lkdGgiOjk2MC4wLCJNYXhIZWlnaHQiOiJJbmZpbml0eSIsIlNtYXJ0Rm9yZWdyb3VuZElzQWN0aXZlIjpmYWxzZSwiSG9yaXpvbnRhbEFsaWdubWVudCI6MSwiVmVydGljYWxBbGlnbm1lbnQiOjAsIlNtYXJ0Rm9yZWdyb3VuZCI6bnVsbCwiQmFja2dyb3VuZEZpbGxUeXBlIjowLCJNYXJnaW4iOnsiJGlkIjoiMTE3IiwiVG9wIjowLCJMZWZ0IjowLCJSaWdodCI6MCwiQm90dG9tIjowfSwiUGFkZGluZyI6eyIkaWQiOiIxMTgiLCJUb3AiOjAsIkxlZnQiOjAsIlJpZ2h0IjowLCJCb3R0b20iOjB9LCJCYWNrZ3JvdW5kIjp7IiRpZCI6IjExOSIsIkNvbG9yIjp7IiRyZWYiOiIyMCJ9fSwiSXNWaXNpYmxlIjp0cnVlLCJXaWR0aCI6MC4wLCJIZWlnaHQiOjAuMCwiQm9yZGVyU3R5bGUiOm51bGwsIlBhcmVudFN0eWxlIjpudWxsfSwiRGF0ZVN0eWxlIjp7IiRpZCI6IjEyMCIsIkZvbnRTZXR0aW5ncyI6eyIkaWQiOiIxMjEiLCJGb250U2l6ZSI6MTAsIkZvbnROYW1lIjoiQ2FsaWJyaSIsIklzQm9sZCI6ZmFsc2UsIklzSXRhbGljIjpmYWxzZSwiSXNVbmRlcmxpbmVkIjpmYWxzZSwiUGFyZW50U3R5bGUiOm51bGx9LCJBdXRvU2l6ZSI6MCwiRm9yZWdyb3VuZCI6eyIkaWQiOiIxMjIiLCJDb2xvciI6eyIkaWQiOiIxMjM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pZCI6IjEyNCIsIlRvcCI6MCwiTGVmdCI6MCwiUmlnaHQiOjAsIkJvdHRvbSI6MH0sIlBhZGRpbmciOnsiJGlkIjoiMTI1IiwiVG9wIjowLCJMZWZ0IjowLCJSaWdodCI6MCwiQm90dG9tIjowfSwiQmFja2dyb3VuZCI6eyIkaWQiOiIxMjYiLCJDb2xvciI6eyIkcmVmIjoiMjAifX0sIklzVmlzaWJsZSI6dHJ1ZSwiV2lkdGgiOjAuMCwiSGVpZ2h0IjowLjAsIkJvcmRlclN0eWxlIjpudWxsLCJQYXJlbnRTdHlsZSI6bnVsbH0sIkRhdGVGb3JtYXQiOnsiJGlkIjoiMTI3IiwiRm9ybWF0U3RyaW5nIjoiTU1NIGQiLCJTZXBhcmF0b3IiOiIvIiwiVXNlSW50ZXJuYXRpb25hbERhdGVGb3JtYXQiOmZhbHNlLCJEYXRlSXNWaXNpYmxlIjp0cnVlLCJUaW1lSXNWaXNpYmxlIjpmYWxzZSwiSG91ckRpZ2l0cyI6MSwiQW1QbURlc2lnbmF0b3IiOjIsIlRyaW0wME1pbnV0ZXMiOmZhbHNlLCJMYXN0S25vd25WaXNpYmlsaXR5U3RhdGUiOm51bGx9LCJXZWVrTnVtYmVyaW5nIjp7IiRpZCI6IjEyOCIsIkZvcm1hdCI6MCwiSXNWaXNpYmxlIjpmYWxzZSwiTGFzdEtub3duVmlzaWJpbGl0eVN0YXRlIjpmYWxzZX0sIklzVmlzaWJsZSI6dHJ1ZSwiUGFyZW50U3R5bGUiOm51bGwsIl9leHBsaWNpdGx5U2V0Ijp7IiRpZCI6IjEyOSIsIlNoYXBlU3R5bGUiOmZhbHNlLCJUaXRsZVN0eWxlIjpmYWxzZSwiRGF0ZVN0eWxlIjpmYWxzZSwiSG9yaXpvbnRhbENvbm5lY3RvclN0eWxlIjpmYWxzZSwiVmVydGljYWxDb25uZWN0b3JTdHlsZSI6ZmFsc2UsIlBlcmNlbnRhZ2VDb21wbGV0ZVNoYXBlT3BhY2l0eSI6ZmFsc2UsIlNoYXBlIjpmYWxzZSwiU2hhcGVUaGlja25lc3MiOmZhbHNlLCJEdXJhdGlvbkZvcm1hdCI6ZmFsc2UsIkluY2x1ZGVOb25Xb3JraW5nRGF5c0luRHVyYXRpb24iOmZhbHNlLCJNYXJnaW4iOmZhbHNlLCJTdGFydERhdGVQb3NpdGlvbiI6ZmFsc2UsIkVuZERhdGVQb3NpdGlvbiI6ZmFsc2UsIlRpdGxlUG9zaXRpb24iOmZhbHNlLCJEdXJhdGlvblBvc2l0aW9uIjpmYWxzZSwiUGVyY2VudGFnZUNvbXBsZXRlZFBvc2l0aW9uIjpmYWxzZSwiU3BhY2luZyI6ZmFsc2UsIklzQmVsb3dUaW1lYmFuZCI6ZmFsc2UsIkRhdGVGb3JtYXQiOmZhbHNlLCJXZWVrTnVtYmVyaW5nIjpmYWxzZSwiSXNWaXNpYmxlIjpmYWxzZX19LCJHcmlkbGluZVBhbmVsU3R5bGUiOnsiJGlkIjoiMTMwIiwiR3JpZGxpbmVTdHlsZSI6eyIkaWQiOiIxMzEiLCJMaW5lQ29sb3IiOnsiJGlkIjoiMTMyIiwiJHR5cGUiOiJOTFJFLkNvbW1vbi5Eb20uU29saWRDb2xvckJydXNoLCBOTFJFLkNvbW1vbiIsIkNvbG9yIjp7IiRpZCI6IjEzMyIsIkEiOjM4LCJSIjo2OCwiRyI6MTE0LCJCIjoxOTZ9fSwiTGluZVdlaWdodCI6MS41LCJMaW5lVHlwZSI6MCwiUGFyZW50U3R5bGUiOm51bGx9LCJNYXJnaW4iOnsiJGlkIjoiMTM0IiwiVG9wIjowLCJMZWZ0IjowLCJSaWdodCI6MCwiQm90dG9tIjowfSwiUGFkZGluZyI6eyIkaWQiOiIxMzUiLCJUb3AiOjAsIkxlZnQiOjAsIlJpZ2h0IjowLCJCb3R0b20iOjB9LCJCYWNrZ3JvdW5kIjpudWxsLCJJc1Zpc2libGUiOnRydWUsIldpZHRoIjowLjAsIkhlaWdodCI6MC4wLCJCb3JkZXJTdHlsZSI6eyIkaWQiOiIxMzYiLCJMaW5lQ29sb3IiOm51bGwsIkxpbmVXZWlnaHQiOjAuMCwiTGluZVR5cGUiOjAsIlBhcmVudFN0eWxlIjpudWxsfSwiUGFyZW50U3R5bGUiOm51bGx9LCJTaG93RWxhcHNlZFRpbWVHcmFkaWVudFN0eWxlIjpmYWxzZSwiRGVmYXVsdFN3aW1sYW5lU3R5bGUiOnsiJGlkIjoiMTM3IiwiSGVhZGVyU3R5bGUiOnsiJGlkIjoiMTM4IiwiVGV4dFN0eWxlIjp7IiRpZCI6IjEzOSIsIkZvbnRTZXR0aW5ncyI6eyIkaWQiOiIxNDAiLCJGb250U2l6ZSI6MTIsIkZvbnROYW1lIjoiQ2FsaWJyaSIsIklzQm9sZCI6ZmFsc2UsIklzSXRhbGljIjpmYWxzZSwiSXNVbmRlcmxpbmVkIjpmYWxzZSwiUGFyZW50U3R5bGUiOm51bGx9LCJBdXRvU2l6ZSI6MCwiRm9yZWdyb3VuZCI6eyIkaWQiOiIxNDEiLCJDb2xvciI6eyIkaWQiOiIxNDIiLCJBIjoyNTUsIlIiOjMyLCJHIjo1NiwiQiI6MTAwfX0sIk1heFdpZHRoIjowLjAsIk1heEhlaWdodCI6MC4wLCJTbWFydEZvcmVncm91bmRJc0FjdGl2ZSI6ZmFsc2UsIkhvcml6b250YWxBbGlnbm1lbnQiOjAsIlZlcnRpY2FsQWxpZ25tZW50IjowLCJTbWFydEZvcmVncm91bmQiOm51bGwsIkJhY2tncm91bmRGaWxsVHlwZSI6MCwiTWFyZ2luIjp7IiRpZCI6IjE0MyIsIlRvcCI6MCwiTGVmdCI6MCwiUmlnaHQiOjAsIkJvdHRvbSI6MH0sIlBhZGRpbmciOnsiJGlkIjoiMTQ0IiwiVG9wIjowLCJMZWZ0IjowLCJSaWdodCI6MCwiQm90dG9tIjowfSwiQmFja2dyb3VuZCI6bnVsbCwiSXNWaXNpYmxlIjpmYWxzZSwiV2lkdGgiOjAuMCwiSGVpZ2h0IjowLjAsIkJvcmRlclN0eWxlIjpudWxsLCJQYXJlbnRTdHlsZSI6bnVsbH0sIlJlY3RhbmdsZVN0eWxlIjp7IiRpZCI6IjE0NSIsIk1hcmdpbiI6eyIkaWQiOiIxNDYiLCJUb3AiOjAsIkxlZnQiOjAsIlJpZ2h0IjowLCJCb3R0b20iOjB9LCJQYWRkaW5nIjp7IiRpZCI6IjE0NyIsIlRvcCI6MCwiTGVmdCI6MCwiUmlnaHQiOjAsIkJvdHRvbSI6MH0sIkJhY2tncm91bmQiOnsiJGlkIjoiMTQ4IiwiQ29sb3IiOnsiJGlkIjoiMTQ5IiwiQSI6MTI3LCJSIjo5MSwiRyI6MTU1LCJCIjoyMTN9fSwiSXNWaXNpYmxlIjpmYWxzZSwiV2lkdGgiOjAuMCwiSGVpZ2h0IjowLjAsIkJvcmRlclN0eWxlIjp7IiRpZCI6IjE1MCIsIkxpbmVDb2xvciI6eyIkaWQiOiIxNTEiLCIkdHlwZSI6Ik5MUkUuQ29tbW9uLkRvbS5Tb2xpZENvbG9yQnJ1c2gsIE5MUkUuQ29tbW9uIiwiQ29sb3IiOnsiJGlkIjoiMTUyIiwiQSI6MjU1LCJSIjoyNTUsIkciOjAsIkIiOjB9fSwiTGluZVdlaWdodCI6MC4wLCJMaW5lVHlwZSI6MCwiUGFyZW50U3R5bGUiOm51bGx9LCJQYXJlbnRTdHlsZSI6bnVsbH0sIk1hcmdpbiI6eyIkaWQiOiIxNTMiLCJUb3AiOjAsIkxlZnQiOjAsIlJpZ2h0IjowLCJCb3R0b20iOjB9LCJQYWRkaW5nIjp7IiRpZCI6IjE1NCIsIlRvcCI6MCwiTGVmdCI6MCwiUmlnaHQiOjAsIkJvdHRvbSI6MH0sIkJhY2tncm91bmQiOm51bGwsIklzVmlzaWJsZSI6dHJ1ZSwiV2lkdGgiOjAuMCwiSGVpZ2h0IjowLjAsIkJvcmRlclN0eWxlIjpudWxsLCJQYXJlbnRTdHlsZSI6bnVsbH0sIkJhY2tncm91bmRTdHlsZSI6eyIkaWQiOiIxNTUiLCJNYXJnaW4iOnsiJGlkIjoiMTU2IiwiVG9wIjowLCJMZWZ0IjowLCJSaWdodCI6MCwiQm90dG9tIjowfSwiUGFkZGluZyI6eyIkaWQiOiIxNTciLCJUb3AiOjAsIkxlZnQiOjAsIlJpZ2h0IjowLCJCb3R0b20iOjB9LCJCYWNrZ3JvdW5kIjp7IiRpZCI6IjE1OCIsIkNvbG9yIjp7IiRpZCI6IjE1OSIsIkEiOjM4LCJSIjo5MSwiRyI6MTU1LCJCIjoyMTN9fSwiSXNWaXNpYmxlIjp0cnVlLCJXaWR0aCI6MC4wLCJIZWlnaHQiOjAuMCwiQm9yZGVyU3R5bGUiOnsiJGlkIjoiMTYwIiwiTGluZUNvbG9yIjp7IiRpZCI6IjE2MSIsIiR0eXBlIjoiTkxSRS5Db21tb24uRG9tLlNvbGlkQ29sb3JCcnVzaCwgTkxSRS5Db21tb24iLCJDb2xvciI6eyIkaWQiOiIxNjIiLCJBIjoyNTUsIlIiOjI1NSwiRyI6MCwiQiI6MH19LCJMaW5lV2VpZ2h0IjowLjAsIkxpbmVUeXBlIjowLCJQYXJlbnRTdHlsZSI6bnVsbH0sIlBhcmVudFN0eWxlIjpudWxsfSwiSXNBYm92ZVRpbWViYW5kIjpmYWxzZSwiTWFyZ2luIjp7IiRpZCI6IjE2MyIsIlRvcCI6MCwiTGVmdCI6MCwiUmlnaHQiOjAsIkJvdHRvbSI6MH0sIlBhZGRpbmciOnsiJGlkIjoiMTY0IiwiVG9wIjowLCJMZWZ0IjowLCJSaWdodCI6MCwiQm90dG9tIjowfSwiSXNWaXNpYmxlIjp0cnVlLCJXaWR0aCI6MC4wLCJIZWlnaHQiOjAuMCwiQm9yZGVyU3R5bGUiOm51bGwsIlBhcmVudFN0eWxlIjpudWxsfX0sIlNjYWxlIjp7IiRpZCI6IjE2NSIsIlN0YXJ0RGF0ZSI6IjAwMDEtMDEtMDFUMDA6MDA6MDAiLCJFbmREYXRlIjoiMjAyMS0wNC0wMlQyMzo1OTowMCIsIkZvcm1hdCI6Ik1NTSIsIlR5cGUiOjIsIkF1dG9EYXRlUmFuZ2UiOnRydWUsIldvcmtpbmdEYXlzIjozMSwiRmlzY2FsWWVhciI6eyIkaWQiOiIxNjYiLCJTdGFydE1vbnRoIjoxLCJVc2VTdGFydGluZ1llYXJGb3JOdW1iZXJpbmciOnRydWUsIlNob3dGaXNjYWxZZWFyTGFiZWwiOnRydWV9LCJUb2RheU1hcmtlclRleHQiOiJUb2RheSIsIkF1dG9TY2FsZVR5cGUiOnRydWV9LCJNaWxlc3RvbmVzIjpbeyIkaWQiOiIxNjciLCJEYXRlIjoiMjAyMC0wOC0wM1QyMzo1OTowMCIsIlN0eWxlIjp7IiRpZCI6IjE2OCIsIlNoYXBlIjoxMywiQ29ubmVjdG9yTWFyZ2luIjp7IiRyZWYiOiI1NCJ9LCJDb25uZWN0b3JTdHlsZSI6eyIkaWQiOiIxNjkiLCJMaW5lQ29sb3IiOnsiJGlkIjoiMTcwIiwiJHR5cGUiOiJOTFJFLkNvbW1vbi5Eb20uU29saWRDb2xvckJydXNoLCBOTFJFLkNvbW1vbiIsIkNvbG9yIjp7IiRpZCI6IjE3MSIsIkEiOjEyNywiUiI6NzksIkciOjEyOSwiQiI6MTg5fX0sIkxpbmVXZWlnaHQiOjEuMCwiTGluZVR5cGUiOjAsIlBhcmVudFN0eWxlIjpudWxsfSwiSXNCZWxvd1RpbWViYW5kIjpmYWxzZSwiUG9zaXRpb25PblRhc2siOjAsIkhpZGVEYXRlIjpmYWxzZSwiU2hhcGVTaXplIjoxLCJTcGFjaW5nIjoxLjAsIlBhZGRpbmciOnsiJHJlZiI6IjU4In0sIlNoYXBlU3R5bGUiOnsiJGlkIjoiMTcyIiwiTWFyZ2luIjp7IiRyZWYiOiI2MCJ9LCJQYWRkaW5nIjp7IiRyZWYiOiI2MSJ9LCJCYWNrZ3JvdW5kIjp7IiRpZCI6IjE3MyIsIkNvbG9yIjp7IiRpZCI6IjE3NCIsIkEiOjI1NSwiUiI6MjU0LCJHIjoxODYsIkIiOjEwfX0sIklzVmlzaWJsZSI6dHJ1ZSwiV2lkdGgiOjE4LjAsIkhlaWdodCI6MjAuMCwiQm9yZGVyU3R5bGUiOnsiJGlkIjoiMTc1IiwiTGluZUNvbG9yIjp7IiRyZWYiOiI2NSJ9LCJMaW5lV2VpZ2h0IjowLjAsIkxpbmVUeXBlIjowLCJQYXJlbnRTdHlsZSI6bnVsbH0sIlBhcmVudFN0eWxlIjpudWxsfSwiVGl0bGVTdHlsZSI6eyIkaWQiOiIxNzYiLCJGb250U2V0dGluZ3MiOnsiJGlkIjoiMTc3IiwiRm9udFNpemUiOjgsIkZvbnROYW1lIjoiQ2FsaWJyaSIsIklzQm9sZCI6ZmFsc2UsIklzSXRhbGljIjpmYWxzZSwiSXNVbmRlcmxpbmVkIjpmYWxzZSwiUGFyZW50U3R5bGUiOm51bGx9LCJBdXRvU2l6ZSI6MCwiRm9yZWdyb3VuZCI6eyIkaWQiOiIxNzgiLCJDb2xvciI6eyIkaWQiOiIxNzkiLCJBIjoyNTUsIlIiOjAsIkciOjAsIkIiOjB9fSwiTWF4V2lkdGgiOjIwMC4wLCJNYXhIZWlnaHQiOiJJbmZpbml0eSIsIlNtYXJ0Rm9yZWdyb3VuZElzQWN0aXZlIjpmYWxzZSwiSG9yaXpvbnRhbEFsaWdubWVudCI6MSwiVmVydGljYWxBbGlnbm1lbnQiOjAsIlNtYXJ0Rm9yZWdyb3VuZCI6bnVsbCwiQmFja2dyb3VuZEZpbGxUeXBlIjowLCJNYXJnaW4iOnsiJHJlZiI6IjcxIn0sIlBhZGRpbmciOnsiJHJlZiI6IjcyIn0sIkJhY2tncm91bmQiOnsiJGlkIjoiMTgwIiwiQ29sb3IiOnsiJGlkIjoiMTgxIiwiQSI6MCwiUiI6MjU1LCJHIjoyNTUsIkIiOjI1NX19LCJJc1Zpc2libGUiOnRydWUsIldpZHRoIjowLjAsIkhlaWdodCI6MC4wLCJCb3JkZXJTdHlsZSI6eyIkaWQiOiIxODIiLCJMaW5lQ29sb3IiOm51bGwsIkxpbmVXZWlnaHQiOjAuMCwiTGluZVR5cGUiOjAsIlBhcmVudFN0eWxlIjpudWxsfSwiUGFyZW50U3R5bGUiOm51bGx9LCJEYXRlU3R5bGUiOnsiJGlkIjoiMTgzIiwiRm9udFNldHRpbmdzIjp7IiRpZCI6IjE4NCIsIkZvbnRTaXplIjo4LCJGb250TmFtZSI6IkNhbGlicmkiLCJJc0JvbGQiOmZhbHNlLCJJc0l0YWxpYyI6ZmFsc2UsIklzVW5kZXJsaW5lZCI6ZmFsc2UsIlBhcmVudFN0eWxlIjpudWxsfSwiQXV0b1NpemUiOjAsIkZvcmVncm91bmQiOnsiJGlkIjoiMTg1IiwiQ29sb3IiOnsiJGlkIjoiMTg2IiwiQSI6MjU1LCJSIjo2OCwiRyI6ODQsIkIiOjEwNn19LCJNYXhXaWR0aCI6MjAwLjAsIk1heEhlaWdodCI6IkluZmluaXR5IiwiU21hcnRGb3JlZ3JvdW5kSXNBY3RpdmUiOmZhbHNlLCJIb3Jpem9udGFsQWxpZ25tZW50IjoxLCJWZXJ0aWNhbEFsaWdubWVudCI6MCwiU21hcnRGb3JlZ3JvdW5kIjpudWxsLCJCYWNrZ3JvdW5kRmlsbFR5cGUiOjAsIk1hcmdpbiI6eyIkcmVmIjoiNzgifSwiUGFkZGluZyI6eyIkcmVmIjoiNzkifSwiQmFja2dyb3VuZCI6eyIkaWQiOiIxODciLCJDb2xvciI6eyIkaWQiOiIxODgiLCJBIjowLCJSIjoyNTUsIkciOjI1NSwiQiI6MjU1fX0sIklzVmlzaWJsZSI6dHJ1ZSwiV2lkdGgiOjAuMCwiSGVpZ2h0IjowLjAsIkJvcmRlclN0eWxlIjp7IiRpZCI6IjE4OSIsIkxpbmVDb2xvciI6bnVsbCwiTGluZVdlaWdodCI6MC4wLCJMaW5lVHlwZSI6MCwiUGFyZW50U3R5bGUiOm51bGx9LCJQYXJlbnRTdHlsZSI6bnVsbH0sIkRhdGVGb3JtYXQiOnsiJGlkIjoiMTkwIiwiRm9ybWF0U3RyaW5nIjoiTU1NTSBkLCB5eXl5IiwiU2VwYXJhdG9yIjoiLyIsIlVzZUludGVybmF0aW9uYWxEYXRlRm9ybWF0IjpmYWxzZSwiRGF0ZUlzVmlzaWJsZSI6dHJ1ZSwiVGltZUlzVmlzaWJsZSI6ZmFsc2UsIkhvdXJEaWdpdHMiOjEsIkFtUG1EZXNpZ25hdG9yIjoyLCJUcmltMDBNaW51dGVzIjpmYWxzZSwiTGFzdEtub3duVmlzaWJpbGl0eVN0YXRlIjp7IiRpZCI6IjE5MSIsIkRhdGVQYXJ0SXNWaXNpYmxlIjp0cnVlLCJUaW1lUGFydElzVmlzaWJsZSI6ZmFsc2V9fSwiV2Vla051bWJlcmluZyI6eyIkaWQiOiIxOTIiLCJGb3JtYXQiOjAsIklzVmlzaWJsZSI6ZmFsc2UsIkxhc3RLbm93blZpc2liaWxpdHlTdGF0ZSI6ZmFsc2V9LCJJc1Zpc2libGUiOnRydWUsIlBhcmVudFN0eWxlIjpudWxsfSwiSW5kZXgiOjAsIlBlcmNlbnRhZ2VDb21wbGV0ZSI6bnVsbCwiUG9zaXRpb24iOnsiUmF0aW8iOjAuMDg3NzExODcxMTExODM0NSwiSXNDdXN0b20iOmZhbHNlfSwiRGF0ZUZvcm1hdCI6eyIkcmVmIjoiMTkwIn0sIldlZWtOdW1iZXJpbmciOnsiJGlkIjoiMTkzIiwiRm9ybWF0IjowLCJJc1Zpc2libGUiOmZhbHNlLCJMYXN0S25vd25WaXNpYmlsaXR5U3RhdGUiOmZhbHNlfSwiUmVsYXRlZFRhc2tJZCI6IjAwMDAwMDAwLTAwMDAtMDAwMC0wMDAwLTAwMDAwMDAwMDAwMCIsIklkIjoiMTc3MTg4NzAtN2U1NC00ODMwLWI4Y2UtODg0YTQ1YjE0ZDNhIiwiSW1wb3J0SWQiOm51bGwsIlRpdGxlIjoiSW5jZXB0aW9uIiwiTm90ZSI6bnVsbCwiSHlwZXJsaW5rIjp7IiRpZCI6IjE5NCIsIkFkZHJlc3MiOiIiLCJTdWJBZGRyZXNzIjoiIn0sIklzQ2hhbmdlZCI6ZmFsc2UsIklzTmV3IjpmYWxzZX0seyIkaWQiOiIxOTUiLCJEYXRlIjoiMjAyMC0wOS0yMVQyMzo1OTowMCIsIlN0eWxlIjp7IiRpZCI6IjE5NiIsIlNoYXBlIjoxMywiQ29ubmVjdG9yTWFyZ2luIjp7IiRyZWYiOiI1NCJ9LCJDb25uZWN0b3JTdHlsZSI6eyIkaWQiOiIxOTciLCJMaW5lQ29sb3IiOnsiJHJlZiI6IjU2In0sIkxpbmVXZWlnaHQiOjEuMCwiTGluZVR5cGUiOjAsIlBhcmVudFN0eWxlIjpudWxsfSwiSXNCZWxvd1RpbWViYW5kIjpmYWxzZSwiUG9zaXRpb25PblRhc2siOjAsIkhpZGVEYXRlIjpmYWxzZSwiU2hhcGVTaXplIjoxLCJTcGFjaW5nIjoxLjAsIlBhZGRpbmciOnsiJHJlZiI6IjU4In0sIlNoYXBlU3R5bGUiOnsiJGlkIjoiMTk4IiwiTWFyZ2luIjp7IiRyZWYiOiI2MCJ9LCJQYWRkaW5nIjp7IiRyZWYiOiI2MSJ9LCJCYWNrZ3JvdW5kIjp7IiRpZCI6IjE5OSIsIkNvbG9yIjp7IiRpZCI6IjIwMCIsIkEiOjI1NSwiUiI6MTEyLCJHIjoxNzMsIkIiOjcxfX0sIklzVmlzaWJsZSI6dHJ1ZSwiV2lkdGgiOjE4LjAsIkhlaWdodCI6MjAuMCwiQm9yZGVyU3R5bGUiOnsiJGlkIjoiMjAxIiwiTGluZUNvbG9yIjp7IiRyZWYiOiI2NSJ9LCJMaW5lV2VpZ2h0IjowLjAsIkxpbmVUeXBlIjowLCJQYXJlbnRTdHlsZSI6bnVsbH0sIlBhcmVudFN0eWxlIjpudWxsfSwiVGl0bGVTdHlsZSI6eyIkaWQiOiIyMDIiLCJGb250U2V0dGluZ3MiOnsiJGlkIjoiMjAzIiwiRm9udFNpemUiOjgsIkZvbnROYW1lIjoiQ2FsaWJyaSIsIklzQm9sZCI6ZmFsc2UsIklzSXRhbGljIjpmYWxzZSwiSXNVbmRlcmxpbmVkIjpmYWxzZSwiUGFyZW50U3R5bGUiOm51bGx9LCJBdXRvU2l6ZSI6MCwiRm9yZWdyb3VuZCI6eyIkaWQiOiIyMDQiLCJDb2xvciI6eyIkaWQiOiIyMDUiLCJBIjoyNTUsIlIiOjAsIkciOjAsIkIiOjB9fSwiTWF4V2lkdGgiOjIwMC4wLCJNYXhIZWlnaHQiOiJJbmZpbml0eSIsIlNtYXJ0Rm9yZWdyb3VuZElzQWN0aXZlIjpmYWxzZSwiSG9yaXpvbnRhbEFsaWdubWVudCI6MSwiVmVydGljYWxBbGlnbm1lbnQiOjAsIlNtYXJ0Rm9yZWdyb3VuZCI6bnVsbCwiQmFja2dyb3VuZEZpbGxUeXBlIjowLCJNYXJnaW4iOnsiJHJlZiI6IjcxIn0sIlBhZGRpbmciOnsiJHJlZiI6IjcyIn0sIkJhY2tncm91bmQiOnsiJGlkIjoiMjA2IiwiQ29sb3IiOnsiJGlkIjoiMjA3IiwiQSI6MCwiUiI6MjU1LCJHIjoyNTUsIkIiOjI1NX19LCJJc1Zpc2libGUiOnRydWUsIldpZHRoIjowLjAsIkhlaWdodCI6MC4wLCJCb3JkZXJTdHlsZSI6eyIkaWQiOiIyMDgiLCJMaW5lQ29sb3IiOm51bGwsIkxpbmVXZWlnaHQiOjAuMCwiTGluZVR5cGUiOjAsIlBhcmVudFN0eWxlIjpudWxsfSwiUGFyZW50U3R5bGUiOm51bGx9LCJEYXRlU3R5bGUiOnsiJGlkIjoiMjA5IiwiRm9udFNldHRpbmdzIjp7IiRpZCI6IjIxMCIsIkZvbnRTaXplIjo4LCJGb250TmFtZSI6IkNhbGlicmkiLCJJc0JvbGQiOmZhbHNlLCJJc0l0YWxpYyI6ZmFsc2UsIklzVW5kZXJsaW5lZCI6ZmFsc2UsIlBhcmVudFN0eWxlIjpudWxsfSwiQXV0b1NpemUiOjAsIkZvcmVncm91bmQiOnsiJGlkIjoiMjExIiwiQ29sb3IiOnsiJGlkIjoiMjEyIiwiQSI6MjU1LCJSIjo2OCwiRyI6ODQsIkIiOjEwNn19LCJNYXhXaWR0aCI6MjAwLjAsIk1heEhlaWdodCI6IkluZmluaXR5IiwiU21hcnRGb3JlZ3JvdW5kSXNBY3RpdmUiOmZhbHNlLCJIb3Jpem9udGFsQWxpZ25tZW50IjoxLCJWZXJ0aWNhbEFsaWdubWVudCI6MCwiU21hcnRGb3JlZ3JvdW5kIjpudWxsLCJCYWNrZ3JvdW5kRmlsbFR5cGUiOjAsIk1hcmdpbiI6eyIkcmVmIjoiNzgifSwiUGFkZGluZyI6eyIkcmVmIjoiNzkifSwiQmFja2dyb3VuZCI6eyIkaWQiOiIyMTMiLCJDb2xvciI6eyIkaWQiOiIyMTQiLCJBIjowLCJSIjoyNTUsIkciOjI1NSwiQiI6MjU1fX0sIklzVmlzaWJsZSI6dHJ1ZSwiV2lkdGgiOjAuMCwiSGVpZ2h0IjowLjAsIkJvcmRlclN0eWxlIjp7IiRpZCI6IjIxNSIsIkxpbmVDb2xvciI6bnVsbCwiTGluZVdlaWdodCI6MC4wLCJMaW5lVHlwZSI6MCwiUGFyZW50U3R5bGUiOm51bGx9LCJQYXJlbnRTdHlsZSI6bnVsbH0sIkRhdGVGb3JtYXQiOnsiJGlkIjoiMjE2IiwiRm9ybWF0U3RyaW5nIjoiTU1NTSBkLCB5eXl5IiwiU2VwYXJhdG9yIjoiLyIsIlVzZUludGVybmF0aW9uYWxEYXRlRm9ybWF0IjpmYWxzZSwiRGF0ZUlzVmlzaWJsZSI6dHJ1ZSwiVGltZUlzVmlzaWJsZSI6ZmFsc2UsIkhvdXJEaWdpdHMiOjEsIkFtUG1EZXNpZ25hdG9yIjoyLCJUcmltMDBNaW51dGVzIjpmYWxzZSwiTGFzdEtub3duVmlzaWJpbGl0eVN0YXRlIjp7IiRpZCI6IjIxNyIsIkRhdGVQYXJ0SXNWaXNpYmxlIjp0cnVlLCJUaW1lUGFydElzVmlzaWJsZSI6ZmFsc2V9fSwiV2Vla051bWJlcmluZyI6eyIkaWQiOiIyMTgiLCJGb3JtYXQiOjAsIklzVmlzaWJsZSI6ZmFsc2UsIkxhc3RLbm93blZpc2liaWxpdHlTdGF0ZSI6ZmFsc2V9LCJJc1Zpc2libGUiOnRydWUsIlBhcmVudFN0eWxlIjpudWxsfSwiSW5kZXgiOjEsIlBlcmNlbnRhZ2VDb21wbGV0ZSI6bnVsbCwiUG9zaXRpb24iOnsiUmF0aW8iOjAuMCwiSXNDdXN0b20iOmZhbHNlfSwiRGF0ZUZvcm1hdCI6eyIkcmVmIjoiMjE2In0sIldlZWtOdW1iZXJpbmciOnsiJGlkIjoiMjE5IiwiRm9ybWF0IjowLCJJc1Zpc2libGUiOmZhbHNlLCJMYXN0S25vd25WaXNpYmlsaXR5U3RhdGUiOmZhbHNlfSwiUmVsYXRlZFRhc2tJZCI6IjAwMDAwMDAwLTAwMDAtMDAwMC0wMDAwLTAwMDAwMDAwMDAwMCIsIklkIjoiNzY0OTI3M2MtNTA3MS00Njg1LTllNjgtODM0MzNkNTA2ZWVhIiwiSW1wb3J0SWQiOm51bGwsIlRpdGxlIjoiUHJvamVjdCBLaWNrLW9mZiIsIk5vdGUiOm51bGwsIkh5cGVybGluayI6eyIkaWQiOiIyMjAiLCJBZGRyZXNzIjoiIiwiU3ViQWRkcmVzcyI6IiJ9LCJJc0NoYW5nZWQiOmZhbHNlLCJJc05ldyI6ZmFsc2V9LHsiJGlkIjoiMjIxIiwiRGF0ZSI6IjIwMjAtMTItMjFUMjM6NTk6MDAiLCJTdHlsZSI6eyIkaWQiOiIyMjIiLCJTaGFwZSI6MTMsIkNvbm5lY3Rvck1hcmdpbiI6eyIkaWQiOiIyMjMiLCJUb3AiOjAsIkxlZnQiOjIsIlJpZ2h0IjoyLCJCb3R0b20iOjB9LCJDb25uZWN0b3JTdHlsZSI6eyIkaWQiOiIyMjQiLCJMaW5lQ29sb3IiOnsiJGlkIjoiMjI1IiwiJHR5cGUiOiJOTFJFLkNvbW1vbi5Eb20uU29saWRDb2xvckJydXNoLCBOTFJFLkNvbW1vbiIsIkNvbG9yIjp7IiRpZCI6IjIyNiIsIkEiOjEyNywiUiI6NzksIkciOjEyOSwiQiI6MTg5fX0sIkxpbmVXZWlnaHQiOjEuMCwiTGluZVR5cGUiOjAsIlBhcmVudFN0eWxlIjpudWxsfSwiSXNCZWxvd1RpbWViYW5kIjpmYWxzZSwiUG9zaXRpb25PblRhc2siOjAsIkhpZGVEYXRlIjpmYWxzZSwiU2hhcGVTaXplIjoxLCJTcGFjaW5nIjoxLjAsIlBhZGRpbmciOnsiJGlkIjoiMjI3IiwiVG9wIjo3LCJMZWZ0IjozLCJSaWdodCI6MCwiQm90dG9tIjoyfSwiU2hhcGVTdHlsZSI6eyIkaWQiOiIyMjgiLCJNYXJnaW4iOnsiJHJlZiI6IjYwIn0sIlBhZGRpbmciOnsiJHJlZiI6IjYxIn0sIkJhY2tncm91bmQiOnsiJGlkIjoiMjI5IiwiQ29sb3IiOnsiJGlkIjoiMjMwIiwiQSI6MjU1LCJSIjoyMzcsIkciOjEyNSwiQiI6NDl9fSwiSXNWaXNpYmxlIjp0cnVlLCJXaWR0aCI6MTguMCwiSGVpZ2h0IjoyMC4wLCJCb3JkZXJTdHlsZSI6eyIkaWQiOiIyMzEiLCJMaW5lQ29sb3IiOm51bGwsIkxpbmVXZWlnaHQiOjAuMCwiTGluZVR5cGUiOjAsIlBhcmVudFN0eWxlIjpudWxsfSwiUGFyZW50U3R5bGUiOm51bGx9LCJUaXRsZVN0eWxlIjp7IiRpZCI6IjIzMiIsIkZvbnRTZXR0aW5ncyI6eyIkaWQiOiIyMzMiLCJGb250U2l6ZSI6OCwiRm9udE5hbWUiOiJDYWxpYnJpIiwiSXNCb2xkIjpmYWxzZSwiSXNJdGFsaWMiOmZhbHNlLCJJc1VuZGVybGluZWQiOmZhbHNlLCJQYXJlbnRTdHlsZSI6bnVsbH0sIkF1dG9TaXplIjowLCJGb3JlZ3JvdW5kIjp7IiRpZCI6IjIzNCIsIkNvbG9yIjp7IiRpZCI6IjIzNSIsIkEiOjI1NSwiUiI6MCwiRyI6MCwiQiI6MH19LCJNYXhXaWR0aCI6MjAwLjAsIk1heEhlaWdodCI6IkluZmluaXR5IiwiU21hcnRGb3JlZ3JvdW5kSXNBY3RpdmUiOmZhbHNlLCJIb3Jpem9udGFsQWxpZ25tZW50IjoxLCJWZXJ0aWNhbEFsaWdubWVudCI6MCwiU21hcnRGb3JlZ3JvdW5kIjpudWxsLCJCYWNrZ3JvdW5kRmlsbFR5cGUiOjAsIk1hcmdpbiI6eyIkcmVmIjoiNzEifSwiUGFkZGluZyI6eyIkcmVmIjoiNzIifSwiQmFja2dyb3VuZCI6eyIkaWQiOiIyMzYiLCJDb2xvciI6eyIkaWQiOiIyMzciLCJBIjowLCJSIjoyNTUsIkciOjI1NSwiQiI6MjU1fX0sIklzVmlzaWJsZSI6dHJ1ZSwiV2lkdGgiOjAuMCwiSGVpZ2h0IjowLjAsIkJvcmRlclN0eWxlIjp7IiRpZCI6IjIzOCIsIkxpbmVDb2xvciI6bnVsbCwiTGluZVdlaWdodCI6MC4wLCJMaW5lVHlwZSI6MCwiUGFyZW50U3R5bGUiOm51bGx9LCJQYXJlbnRTdHlsZSI6bnVsbH0sIkRhdGVTdHlsZSI6eyIkaWQiOiIyMzkiLCJGb250U2V0dGluZ3MiOnsiJGlkIjoiMjQwIiwiRm9udFNpemUiOjgsIkZvbnROYW1lIjoiQ2FsaWJyaSIsIklzQm9sZCI6ZmFsc2UsIklzSXRhbGljIjpmYWxzZSwiSXNVbmRlcmxpbmVkIjpmYWxzZSwiUGFyZW50U3R5bGUiOm51bGx9LCJBdXRvU2l6ZSI6MCwiRm9yZWdyb3VuZCI6eyIkaWQiOiIyNDEiLCJDb2xvciI6eyIkaWQiOiIyNDIiLCJBIjoyNTUsIlIiOjY4LCJHIjo4NCwiQiI6MTA2fX0sIk1heFdpZHRoIjoyMDAuMCwiTWF4SGVpZ2h0IjoiSW5maW5pdHkiLCJTbWFydEZvcmVncm91bmRJc0FjdGl2ZSI6ZmFsc2UsIkhvcml6b250YWxBbGlnbm1lbnQiOjEsIlZlcnRpY2FsQWxpZ25tZW50IjowLCJTbWFydEZvcmVncm91bmQiOm51bGwsIkJhY2tncm91bmRGaWxsVHlwZSI6MCwiTWFyZ2luIjp7IiRyZWYiOiI3OCJ9LCJQYWRkaW5nIjp7IiRyZWYiOiI3OSJ9LCJCYWNrZ3JvdW5kIjp7IiRpZCI6IjI0MyIsIkNvbG9yIjp7IiRpZCI6IjI0NCIsIkEiOjAsIlIiOjI1NSwiRyI6MjU1LCJCIjoyNTV9fSwiSXNWaXNpYmxlIjp0cnVlLCJXaWR0aCI6MC4wLCJIZWlnaHQiOjAuMCwiQm9yZGVyU3R5bGUiOnsiJGlkIjoiMjQ1IiwiTGluZUNvbG9yIjpudWxsLCJMaW5lV2VpZ2h0IjowLjAsIkxpbmVUeXBlIjowLCJQYXJlbnRTdHlsZSI6bnVsbH0sIlBhcmVudFN0eWxlIjpudWxsfSwiRGF0ZUZvcm1hdCI6eyIkaWQiOiIyNDYiLCJGb3JtYXRTdHJpbmciOiJNTU1NIGQsIHl5eXkiLCJTZXBhcmF0b3IiOiIvIiwiVXNlSW50ZXJuYXRpb25hbERhdGVGb3JtYXQiOmZhbHNlLCJEYXRlSXNWaXNpYmxlIjp0cnVlLCJUaW1lSXNWaXNpYmxlIjpmYWxzZSwiSG91ckRpZ2l0cyI6MSwiQW1QbURlc2lnbmF0b3IiOjIsIlRyaW0wME1pbnV0ZXMiOmZhbHNlLCJMYXN0S25vd25WaXNpYmlsaXR5U3RhdGUiOnsiJGlkIjoiMjQ3IiwiRGF0ZVBhcnRJc1Zpc2libGUiOnRydWUsIlRpbWVQYXJ0SXNWaXNpYmxlIjpmYWxzZX19LCJXZWVrTnVtYmVyaW5nIjp7IiRpZCI6IjI0OCIsIkZvcm1hdCI6MCwiSXNWaXNpYmxlIjpmYWxzZSwiTGFzdEtub3duVmlzaWJpbGl0eVN0YXRlIjpmYWxzZX0sIklzVmlzaWJsZSI6dHJ1ZSwiUGFyZW50U3R5bGUiOm51bGx9LCJJbmRleCI6MiwiUGVyY2VudGFnZUNvbXBsZXRlIjpudWxsLCJQb3NpdGlvbiI6eyJSYXRpbyI6MC4wLCJJc0N1c3RvbSI6ZmFsc2V9LCJEYXRlRm9ybWF0Ijp7IiRyZWYiOiIyNDYifSwiV2Vla051bWJlcmluZyI6eyIkaWQiOiIyNDkiLCJGb3JtYXQiOjAsIklzVmlzaWJsZSI6ZmFsc2UsIkxhc3RLbm93blZpc2liaWxpdHlTdGF0ZSI6ZmFsc2V9LCJSZWxhdGVkVGFza0lkIjoiMDAwMDAwMDAtMDAwMC0wMDAwLTAwMDAtMDAwMDAwMDAwMDAwIiwiSWQiOiJiOGM2MDMyNi05OTUyLTQzOWItOTc3Yy1iMTAzZTVmNzZiZGIiLCJJbXBvcnRJZCI6bnVsbCwiVGl0bGUiOiJCZXRhIFJlbGVhc2UiLCJOb3RlIjpudWxsLCJIeXBlcmxpbmsiOnsiJGlkIjoiMjUwIiwiQWRkcmVzcyI6IiIsIlN1YkFkZHJlc3MiOiIifSwiSXNDaGFuZ2VkIjpmYWxzZSwiSXNOZXciOmZhbHNlfSx7IiRpZCI6IjI1MSIsIkRhdGUiOiIyMDIxLTAzLTA2VDIzOjU5OjAwIiwiU3R5bGUiOnsiJGlkIjoiMjUyIiwiU2hhcGUiOjE5LCJDb25uZWN0b3JNYXJnaW4iOnsiJHJlZiI6IjU0In0sIkNvbm5lY3RvclN0eWxlIjp7IiRpZCI6IjI1MyIsIkxpbmVDb2xvciI6eyIkaWQiOiIyNTQiLCIkdHlwZSI6Ik5MUkUuQ29tbW9uLkRvbS5Tb2xpZENvbG9yQnJ1c2gsIE5MUkUuQ29tbW9uIiwiQ29sb3IiOnsiJGlkIjoiMjU1IiwiQSI6MTI3LCJSIjo3OSwiRyI6MTI5LCJCIjoxODl9fSwiTGluZVdlaWdodCI6MS41LCJMaW5lVHlwZSI6MCwiUGFyZW50U3R5bGUiOm51bGx9LCJJc0JlbG93VGltZWJhbmQiOmZhbHNlLCJQb3NpdGlvbk9uVGFzayI6MCwiSGlkZURhdGUiOmZhbHNlLCJTaGFwZVNpemUiOjEsIlNwYWNpbmciOjEuMCwiUGFkZGluZyI6eyIkcmVmIjoiNTgifSwiU2hhcGVTdHlsZSI6eyIkaWQiOiIyNTYiLCJNYXJnaW4iOnsiJHJlZiI6IjYwIn0sIlBhZGRpbmciOnsiJHJlZiI6IjYxIn0sIkJhY2tncm91bmQiOnsiJGlkIjoiMjU3IiwiQ29sb3IiOnsiJGlkIjoiMjU4IiwiQSI6MjU1LCJSIjoxNzgsIkciOjE0LCJCIjoxOH19LCJJc1Zpc2libGUiOnRydWUsIldpZHRoIjoxMy4wLCJIZWlnaHQiOjEzLjAsIkJvcmRlclN0eWxlIjp7IiRpZCI6IjI1OSIsIkxpbmVDb2xvciI6eyIkcmVmIjoiNjUifSwiTGluZVdlaWdodCI6MC4wLCJMaW5lVHlwZSI6MCwiUGFyZW50U3R5bGUiOm51bGx9LCJQYXJlbnRTdHlsZSI6bnVsbH0sIlRpdGxlU3R5bGUiOnsiJGlkIjoiMjYwIiwiRm9udFNldHRpbmdzIjp7IiRpZCI6IjI2MSIsIkZvbnRTaXplIjo4LCJGb250TmFtZSI6IkNhbGlicmkiLCJJc0JvbGQiOmZhbHNlLCJJc0l0YWxpYyI6ZmFsc2UsIklzVW5kZXJsaW5lZCI6ZmFsc2UsIlBhcmVudFN0eWxlIjpudWxsfSwiQXV0b1NpemUiOjAsIkZvcmVncm91bmQiOnsiJGlkIjoiMjYyIiwiQ29sb3IiOnsiJGlkIjoiMjYzIiwiQSI6MjU1LCJSIjowLCJHIjowLCJCIjowfX0sIk1heFdpZHRoIjoyMDAuMCwiTWF4SGVpZ2h0IjoiSW5maW5pdHkiLCJTbWFydEZvcmVncm91bmRJc0FjdGl2ZSI6ZmFsc2UsIkhvcml6b250YWxBbGlnbm1lbnQiOjAsIlZlcnRpY2FsQWxpZ25tZW50IjowLCJTbWFydEZvcmVncm91bmQiOm51bGwsIkJhY2tncm91bmRGaWxsVHlwZSI6MCwiTWFyZ2luIjp7IiRyZWYiOiI3MSJ9LCJQYWRkaW5nIjp7IiRyZWYiOiI3MiJ9LCJCYWNrZ3JvdW5kIjp7IiRpZCI6IjI2NCIsIkNvbG9yIjp7IiRpZCI6IjI2NSIsIkEiOjAsIlIiOjI1NSwiRyI6MjU1LCJCIjoyNTV9fSwiSXNWaXNpYmxlIjp0cnVlLCJXaWR0aCI6MC4wLCJIZWlnaHQiOjAuMCwiQm9yZGVyU3R5bGUiOnsiJGlkIjoiMjY2IiwiTGluZUNvbG9yIjpudWxsLCJMaW5lV2VpZ2h0IjowLjAsIkxpbmVUeXBlIjowLCJQYXJlbnRTdHlsZSI6bnVsbH0sIlBhcmVudFN0eWxlIjpudWxsfSwiRGF0ZVN0eWxlIjp7IiRpZCI6IjI2NyIsIkZvbnRTZXR0aW5ncyI6eyIkaWQiOiIyNjgiLCJGb250U2l6ZSI6OCwiRm9udE5hbWUiOiJDYWxpYnJpIiwiSXNCb2xkIjpmYWxzZSwiSXNJdGFsaWMiOmZhbHNlLCJJc1VuZGVybGluZWQiOmZhbHNlLCJQYXJlbnRTdHlsZSI6bnVsbH0sIkF1dG9TaXplIjowLCJGb3JlZ3JvdW5kIjp7IiRpZCI6IjI2OSIsIkNvbG9yIjp7IiRpZCI6IjI3MCIsIkEiOjI1NSwiUiI6NjgsIkciOjg0LCJCIjoxMDZ9fSwiTWF4V2lkdGgiOjIwMC4wLCJNYXhIZWlnaHQiOiJJbmZpbml0eSIsIlNtYXJ0Rm9yZWdyb3VuZElzQWN0aXZlIjpmYWxzZSwiSG9yaXpvbnRhbEFsaWdubWVudCI6MCwiVmVydGljYWxBbGlnbm1lbnQiOjAsIlNtYXJ0Rm9yZWdyb3VuZCI6bnVsbCwiQmFja2dyb3VuZEZpbGxUeXBlIjowLCJNYXJnaW4iOnsiJHJlZiI6Ijc4In0sIlBhZGRpbmciOnsiJHJlZiI6Ijc5In0sIkJhY2tncm91bmQiOnsiJGlkIjoiMjcxIiwiQ29sb3IiOnsiJGlkIjoiMjcyIiwiQSI6MCwiUiI6MjU1LCJHIjoyNTUsIkIiOjI1NX19LCJJc1Zpc2libGUiOnRydWUsIldpZHRoIjowLjAsIkhlaWdodCI6MC4wLCJCb3JkZXJTdHlsZSI6eyIkaWQiOiIyNzMiLCJMaW5lQ29sb3IiOm51bGwsIkxpbmVXZWlnaHQiOjAuMCwiTGluZVR5cGUiOjAsIlBhcmVudFN0eWxlIjpudWxsfSwiUGFyZW50U3R5bGUiOm51bGx9LCJEYXRlRm9ybWF0Ijp7IiRpZCI6IjI3NCIsIkZvcm1hdFN0cmluZyI6Ik1NTU0gZCwgeXl5eSIsIlNlcGFyYXRvciI6Ii8iLCJVc2VJbnRlcm5hdGlvbmFsRGF0ZUZvcm1hdCI6ZmFsc2UsIkRhdGVJc1Zpc2libGUiOnRydWUsIlRpbWVJc1Zpc2libGUiOmZhbHNlLCJIb3VyRGlnaXRzIjoxLCJBbVBtRGVzaWduYXRvciI6MiwiVHJpbTAwTWludXRlcyI6ZmFsc2UsIkxhc3RLbm93blZpc2liaWxpdHlTdGF0ZSI6eyIkaWQiOiIyNzUiLCJEYXRlUGFydElzVmlzaWJsZSI6dHJ1ZSwiVGltZVBhcnRJc1Zpc2libGUiOmZhbHNlfX0sIldlZWtOdW1iZXJpbmciOnsiJGlkIjoiMjc2IiwiRm9ybWF0IjowLCJJc1Zpc2libGUiOmZhbHNlLCJMYXN0S25vd25WaXNpYmlsaXR5U3RhdGUiOmZhbHNlfSwiSXNWaXNpYmxlIjp0cnVlLCJQYXJlbnRTdHlsZSI6bnVsbH0sIkluZGV4IjozLCJQZXJjZW50YWdlQ29tcGxldGUiOm51bGwsIlBvc2l0aW9uIjp7IlJhdGlvIjowLjAsIklzQ3VzdG9tIjpmYWxzZX0sIkRhdGVGb3JtYXQiOnsiJHJlZiI6IjI3NCJ9LCJXZWVrTnVtYmVyaW5nIjp7IiRpZCI6IjI3NyIsIkZvcm1hdCI6MCwiSXNWaXNpYmxlIjpmYWxzZSwiTGFzdEtub3duVmlzaWJpbGl0eVN0YXRlIjpmYWxzZX0sIlJlbGF0ZWRUYXNrSWQiOiIwMDAwMDAwMC0wMDAwLTAwMDAtMDAwMC0wMDAwMDAwMDAwMDAiLCJJZCI6IjBlMjhhODRjLWY2NzItNGUwMC1hMDg5LTk2NGJlMGQyNGIwYyIsIkltcG9ydElkIjpudWxsLCJUaXRsZSI6IkV4ZWN1dGl2ZSBSZXZpZXciLCJOb3RlIjpudWxsLCJIeXBlcmxpbmsiOnsiJGlkIjoiMjc4IiwiQWRkcmVzcyI6IiIsIlN1YkFkZHJlc3MiOiIifSwiSXNDaGFuZ2VkIjpmYWxzZSwiSXNOZXciOmZhbHNlfSx7IiRpZCI6IjI3OSIsIkRhdGUiOiIyMDIxLTAzLTI2VDIzOjU5OjAwIiwiU3R5bGUiOnsiJGlkIjoiMjgwIiwiU2hhcGUiOjEzLCJDb25uZWN0b3JNYXJnaW4iOnsiJHJlZiI6IjU0In0sIkNvbm5lY3RvclN0eWxlIjp7IiRpZCI6IjI4MSIsIkxpbmVDb2xvciI6eyIkaWQiOiIyODIiLCIkdHlwZSI6Ik5MUkUuQ29tbW9uLkRvbS5Tb2xpZENvbG9yQnJ1c2gsIE5MUkUuQ29tbW9uIiwiQ29sb3IiOnsiJGlkIjoiMjgzIiwiQSI6MTI3LCJSIjo3OSwiRyI6MTI5LCJCIjoxODl9fSwiTGluZVdlaWdodCI6MS4wLCJMaW5lVHlwZSI6MCwiUGFyZW50U3R5bGUiOm51bGx9LCJJc0JlbG93VGltZWJhbmQiOmZhbHNlLCJQb3NpdGlvbk9uVGFzayI6MCwiSGlkZURhdGUiOmZhbHNlLCJTaGFwZVNpemUiOjEsIlNwYWNpbmciOjEuMCwiUGFkZGluZyI6eyIkcmVmIjoiNTgifSwiU2hhcGVTdHlsZSI6eyIkaWQiOiIyODQiLCJNYXJnaW4iOnsiJHJlZiI6IjYwIn0sIlBhZGRpbmciOnsiJHJlZiI6IjYxIn0sIkJhY2tncm91bmQiOnsiJGlkIjoiMjg1IiwiQ29sb3IiOnsiJGlkIjoiMjg2IiwiQSI6MjU1LCJSIjoxMTIsIkciOjE3MywiQiI6NzF9fSwiSXNWaXNpYmxlIjp0cnVlLCJXaWR0aCI6MTguMCwiSGVpZ2h0IjoyMC4wLCJCb3JkZXJTdHlsZSI6eyIkaWQiOiIyODciLCJMaW5lQ29sb3IiOnsiJHJlZiI6IjY1In0sIkxpbmVXZWlnaHQiOjAuMCwiTGluZVR5cGUiOjAsIlBhcmVudFN0eWxlIjpudWxsfSwiUGFyZW50U3R5bGUiOm51bGx9LCJUaXRsZVN0eWxlIjp7IiRpZCI6IjI4OCIsIkZvbnRTZXR0aW5ncyI6eyIkaWQiOiIyODkiLCJGb250U2l6ZSI6OCwiRm9udE5hbWUiOiJDYWxpYnJpIiwiSXNCb2xkIjpmYWxzZSwiSXNJdGFsaWMiOmZhbHNlLCJJc1VuZGVybGluZWQiOmZhbHNlLCJQYXJlbnRTdHlsZSI6bnVsbH0sIkF1dG9TaXplIjowLCJGb3JlZ3JvdW5kIjp7IiRpZCI6IjI5MCIsIkNvbG9yIjp7IiRpZCI6IjI5MSIsIkEiOjI1NSwiUiI6MCwiRyI6MCwiQiI6MH19LCJNYXhXaWR0aCI6MjAwLjAsIk1heEhlaWdodCI6IkluZmluaXR5IiwiU21hcnRGb3JlZ3JvdW5kSXNBY3RpdmUiOmZhbHNlLCJIb3Jpem9udGFsQWxpZ25tZW50IjoxLCJWZXJ0aWNhbEFsaWdubWVudCI6MCwiU21hcnRGb3JlZ3JvdW5kIjpudWxsLCJCYWNrZ3JvdW5kRmlsbFR5cGUiOjAsIk1hcmdpbiI6eyIkcmVmIjoiNzEifSwiUGFkZGluZyI6eyIkcmVmIjoiNzIifSwiQmFja2dyb3VuZCI6eyIkaWQiOiIyOTIiLCJDb2xvciI6eyIkaWQiOiIyOTMiLCJBIjowLCJSIjoyNTUsIkciOjI1NSwiQiI6MjU1fX0sIklzVmlzaWJsZSI6dHJ1ZSwiV2lkdGgiOjAuMCwiSGVpZ2h0IjowLjAsIkJvcmRlclN0eWxlIjp7IiRpZCI6IjI5NCIsIkxpbmVDb2xvciI6bnVsbCwiTGluZVdlaWdodCI6MC4wLCJMaW5lVHlwZSI6MCwiUGFyZW50U3R5bGUiOm51bGx9LCJQYXJlbnRTdHlsZSI6bnVsbH0sIkRhdGVTdHlsZSI6eyIkaWQiOiIyOTUiLCJGb250U2V0dGluZ3MiOnsiJGlkIjoiMjk2IiwiRm9udFNpemUiOjgsIkZvbnROYW1lIjoiQ2FsaWJyaSIsIklzQm9sZCI6ZmFsc2UsIklzSXRhbGljIjpmYWxzZSwiSXNVbmRlcmxpbmVkIjpmYWxzZSwiUGFyZW50U3R5bGUiOm51bGx9LCJBdXRvU2l6ZSI6MCwiRm9yZWdyb3VuZCI6eyIkaWQiOiIyOTciLCJDb2xvciI6eyIkaWQiOiIyOTgiLCJBIjoyNTUsIlIiOjY4LCJHIjo4NCwiQiI6MTA2fX0sIk1heFdpZHRoIjoyMDAuMCwiTWF4SGVpZ2h0IjoiSW5maW5pdHkiLCJTbWFydEZvcmVncm91bmRJc0FjdGl2ZSI6ZmFsc2UsIkhvcml6b250YWxBbGlnbm1lbnQiOjEsIlZlcnRpY2FsQWxpZ25tZW50IjowLCJTbWFydEZvcmVncm91bmQiOm51bGwsIkJhY2tncm91bmRGaWxsVHlwZSI6MCwiTWFyZ2luIjp7IiRyZWYiOiI3OCJ9LCJQYWRkaW5nIjp7IiRyZWYiOiI3OSJ9LCJCYWNrZ3JvdW5kIjp7IiRpZCI6IjI5OSIsIkNvbG9yIjp7IiRpZCI6IjMwMCIsIkEiOjAsIlIiOjI1NSwiRyI6MjU1LCJCIjoyNTV9fSwiSXNWaXNpYmxlIjp0cnVlLCJXaWR0aCI6MC4wLCJIZWlnaHQiOjAuMCwiQm9yZGVyU3R5bGUiOnsiJGlkIjoiMzAxIiwiTGluZUNvbG9yIjpudWxsLCJMaW5lV2VpZ2h0IjowLjAsIkxpbmVUeXBlIjowLCJQYXJlbnRTdHlsZSI6bnVsbH0sIlBhcmVudFN0eWxlIjpudWxsfSwiRGF0ZUZvcm1hdCI6eyIkaWQiOiIzMDIiLCJGb3JtYXRTdHJpbmciOiJNTU1NIGQsIHl5eXkiLCJTZXBhcmF0b3IiOiIvIiwiVXNlSW50ZXJuYXRpb25hbERhdGVGb3JtYXQiOmZhbHNlLCJEYXRlSXNWaXNpYmxlIjp0cnVlLCJUaW1lSXNWaXNpYmxlIjpmYWxzZSwiSG91ckRpZ2l0cyI6MSwiQW1QbURlc2lnbmF0b3IiOjIsIlRyaW0wME1pbnV0ZXMiOmZhbHNlLCJMYXN0S25vd25WaXNpYmlsaXR5U3RhdGUiOnsiJGlkIjoiMzAzIiwiRGF0ZVBhcnRJc1Zpc2libGUiOnRydWUsIlRpbWVQYXJ0SXNWaXNpYmxlIjpmYWxzZX19LCJXZWVrTnVtYmVyaW5nIjp7IiRpZCI6IjMwNCIsIkZvcm1hdCI6MCwiSXNWaXNpYmxlIjpmYWxzZSwiTGFzdEtub3duVmlzaWJpbGl0eVN0YXRlIjpmYWxzZX0sIklzVmlzaWJsZSI6dHJ1ZSwiUGFyZW50U3R5bGUiOm51bGx9LCJJbmRleCI6NCwiUGVyY2VudGFnZUNvbXBsZXRlIjpudWxsLCJQb3NpdGlvbiI6eyJSYXRpbyI6MC4wODc3MTE4NzExMTE4MzQ1LCJJc0N1c3RvbSI6ZmFsc2V9LCJEYXRlRm9ybWF0Ijp7IiRyZWYiOiIzMDIifSwiV2Vla051bWJlcmluZyI6eyIkaWQiOiIzMDUiLCJGb3JtYXQiOjAsIklzVmlzaWJsZSI6ZmFsc2UsIkxhc3RLbm93blZpc2liaWxpdHlTdGF0ZSI6ZmFsc2V9LCJSZWxhdGVkVGFza0lkIjoiMDAwMDAwMDAtMDAwMC0wMDAwLTAwMDAtMDAwMDAwMDAwMDAwIiwiSWQiOiJiMWEyYjBhZC01MGM1LTRmM2QtYjI0Yi0zYWFiNjlkNjhmYzUiLCJJbXBvcnRJZCI6bnVsbCwiVGl0bGUiOiJSZWxlYXNlIHRvIEJBVSIsIk5vdGUiOm51bGwsIkh5cGVybGluayI6eyIkaWQiOiIzMDYiLCJBZGRyZXNzIjoiIiwiU3ViQWRkcmVzcyI6IiJ9LCJJc0NoYW5nZWQiOmZhbHNlLCJJc05ldyI6ZmFsc2V9XSwiVGFza3MiOltdLCJTd2ltbGFuZXMiOlt7IiRpZCI6IjMwNyIsIklkIjoiNzlmMDVlOGQtZTcyZS00Y2MzLTg1ZmMtZTg3NWZhNjU1MTdmIiwiSW5kZXgiOjAsIkhlYWRlclRleHQiOiJQbGFubmluZyBhbmQgRGVzaWduIiwiU3R5bGUiOnsiJGlkIjoiMzA4IiwiSGVhZGVyU3R5bGUiOnsiJGlkIjoiMzA5IiwiVGV4dFN0eWxlIjp7IiRpZCI6IjMxMCIsIkZvbnRTZXR0aW5ncyI6eyIkaWQiOiIzMTEiLCJGb250U2l6ZSI6MTAsIkZvbnROYW1lIjoiQ2FsaWJyaSIsIklzQm9sZCI6dHJ1ZSwiSXNJdGFsaWMiOmZhbHNlLCJJc1VuZGVybGluZWQiOmZhbHNlLCJQYXJlbnRTdHlsZSI6bnVsbH0sIkF1dG9TaXplIjowLCJGb3JlZ3JvdW5kIjp7IiRpZCI6IjMxMiIsIkNvbG9yIjp7IiRpZCI6IjMxMyIsIkEiOjI1NSwiUiI6MjU1LCJHIjoyNTUsIkIiOjI1NX19LCJNYXhXaWR0aCI6MC4wLCJNYXhIZWlnaHQiOjAuMCwiU21hcnRGb3JlZ3JvdW5kSXNBY3RpdmUiOmZhbHNlLCJIb3Jpem9udGFsQWxpZ25tZW50IjowLCJWZXJ0aWNhbEFsaWdubWVudCI6MCwiU21hcnRGb3JlZ3JvdW5kIjpudWxsLCJCYWNrZ3JvdW5kRmlsbFR5cGUiOjAsIk1hcmdpbiI6eyIkaWQiOiIzMTQiLCJUb3AiOjAsIkxlZnQiOjAsIlJpZ2h0IjowLCJCb3R0b20iOjB9LCJQYWRkaW5nIjp7IiRpZCI6IjMxNSIsIlRvcCI6MCwiTGVmdCI6MCwiUmlnaHQiOjAsIkJvdHRvbSI6MH0sIkJhY2tncm91bmQiOm51bGwsIklzVmlzaWJsZSI6ZmFsc2UsIldpZHRoIjowLjAsIkhlaWdodCI6MC4wLCJCb3JkZXJTdHlsZSI6bnVsbCwiUGFyZW50U3R5bGUiOm51bGx9LCJSZWN0YW5nbGVTdHlsZSI6eyIkaWQiOiIzMTYiLCJNYXJnaW4iOnsiJGlkIjoiMzE3IiwiVG9wIjowLCJMZWZ0IjowLCJSaWdodCI6MCwiQm90dG9tIjowfSwiUGFkZGluZyI6eyIkaWQiOiIzMTgiLCJUb3AiOjAsIkxlZnQiOjAsIlJpZ2h0IjowLCJCb3R0b20iOjB9LCJCYWNrZ3JvdW5kIjp7IiRpZCI6IjMxOSIsIkNvbG9yIjp7IiRpZCI6IjMyMCIsIkEiOjI1NSwiUiI6MjU1LCJHIjoxOTIsIkIiOjB9fSwiSXNWaXNpYmxlIjpmYWxzZSwiV2lkdGgiOjAuMCwiSGVpZ2h0IjowLjAsIkJvcmRlclN0eWxlIjp7IiRpZCI6IjMyMSIsIkxpbmVDb2xvciI6eyIkcmVmIjoiMTUxIn0sIkxpbmVXZWlnaHQiOjAuMCwiTGluZVR5cGUiOjAsIlBhcmVudFN0eWxlIjpudWxsfSwiUGFyZW50U3R5bGUiOm51bGx9LCJNYXJnaW4iOnsiJGlkIjoiMzIyIiwiVG9wIjowLCJMZWZ0IjowLCJSaWdodCI6MCwiQm90dG9tIjowfSwiUGFkZGluZyI6eyIkaWQiOiIzMjMiLCJUb3AiOjAsIkxlZnQiOjAsIlJpZ2h0IjowLCJCb3R0b20iOjB9LCJCYWNrZ3JvdW5kIjpudWxsLCJJc1Zpc2libGUiOnRydWUsIldpZHRoIjowLjAsIkhlaWdodCI6MC4wLCJCb3JkZXJTdHlsZSI6bnVsbCwiUGFyZW50U3R5bGUiOm51bGx9LCJCYWNrZ3JvdW5kU3R5bGUiOnsiJGlkIjoiMzI0IiwiTWFyZ2luIjp7IiRpZCI6IjMyNSIsIlRvcCI6MCwiTGVmdCI6MCwiUmlnaHQiOjAsIkJvdHRvbSI6MH0sIlBhZGRpbmciOnsiJGlkIjoiMzI2IiwiVG9wIjowLCJMZWZ0IjowLCJSaWdodCI6MCwiQm90dG9tIjowfSwiQmFja2dyb3VuZCI6eyIkaWQiOiIzMjciLCJDb2xvciI6eyIkaWQiOiIzMjgiLCJBIjozOCwiUiI6MjU1LCJHIjoxOTIsIkIiOjB9fSwiSXNWaXNpYmxlIjp0cnVlLCJXaWR0aCI6MC4wLCJIZWlnaHQiOjAuMCwiQm9yZGVyU3R5bGUiOnsiJGlkIjoiMzI5IiwiTGluZUNvbG9yIjp7IiRyZWYiOiIxNjEifSwiTGluZVdlaWdodCI6MC4wLCJMaW5lVHlwZSI6MCwiUGFyZW50U3R5bGUiOm51bGx9LCJQYXJlbnRTdHlsZSI6bnVsbH0sIklzQWJvdmVUaW1lYmFuZCI6ZmFsc2UsIk1hcmdpbiI6eyIkaWQiOiIzMzAiLCJUb3AiOjAsIkxlZnQiOjAsIlJpZ2h0IjowLCJCb3R0b20iOjB9LCJQYWRkaW5nIjp7IiRpZCI6IjMzMSIsIlRvcCI6MCwiTGVmdCI6MCwiUmlnaHQiOjAsIkJvdHRvbSI6MH0sIklzVmlzaWJsZSI6dHJ1ZSwiV2lkdGgiOjAuMCwiSGVpZ2h0IjowLjAsIkJvcmRlclN0eWxlIjpudWxsLCJQYXJlbnRTdHlsZSI6bnVsbH0sIlRhc2tzIjpbeyIkaWQiOiIzMzIiLCJfYXR0YWNoZWRNaWxlc3RvbmVzIjpbXSwiVGFza0RlZmluaXRpb24iOnsiJGlkIjoiMzMzIiwiR3JvdXBOYW1lIjpudWxsLCJTdGFydERhdGUiOiIyMDIwLTA5LTIxVDIzOjU5OjAwWiIsIkVuZERhdGUiOiIyMDIwLTA5LTIyVDIzOjU5OjAwWiIsIlBlcmNlbnRhZ2VDb21wbGV0ZSI6bnVsbCwiU3R5bGUiOnsiJGlkIjoiMzM0IiwiU2hhcGUiOjEsIlNoYXBlVGhpY2tuZXNzIjowLCJEdXJhdGlvbkZvcm1hdCI6MCwiSW5jbHVkZU5vbldvcmtpbmdEYXlzSW5EdXJhdGlvbiI6ZmFsc2UsIlBlcmNlbnRhZ2VDb21wbGV0ZVN0eWxlIjp7IiRpZCI6IjMzNSIsIkZvbnRTZXR0aW5ncyI6eyIkaWQiOiIzMzYiLCJGb250U2l6ZSI6MTAsIkZvbnROYW1lIjoiQ2FsaWJyaSIsIklzQm9sZCI6ZmFsc2UsIklzSXRhbGljIjpmYWxzZSwiSXNVbmRlcmxpbmVkIjpmYWxzZSwiUGFyZW50U3R5bGUiOm51bGx9LCJBdXRvU2l6ZSI6MCwiRm9yZWdyb3VuZCI6eyIkaWQiOiIzMzciLCJDb2xvciI6eyIkaWQiOiIzMzgiLCJBIjoyNTUsIlIiOjIzNywiRyI6MTI1LCJCIjo0OX19LCJNYXhXaWR0aCI6MjAwLjAsIk1heEhlaWdodCI6IkluZmluaXR5IiwiU21hcnRGb3JlZ3JvdW5kSXNBY3RpdmUiOmZhbHNlLCJIb3Jpem9udGFsQWxpZ25tZW50IjowLCJWZXJ0aWNhbEFsaWdubWVudCI6MCwiU21hcnRGb3JlZ3JvdW5kIjpudWxsLCJCYWNrZ3JvdW5kRmlsbFR5cGUiOjAsIk1hcmdpbiI6eyIkaWQiOiIzMzkiLCJUb3AiOjAsIkxlZnQiOjAsIlJpZ2h0IjowLCJCb3R0b20iOjB9LCJQYWRkaW5nIjp7IiRpZCI6IjM0MCIsIlRvcCI6MCwiTGVmdCI6MCwiUmlnaHQiOjAsIkJvdHRvbSI6MH0sIkJhY2tncm91bmQiOnsiJHJlZiI6IjkxIn0sIklzVmlzaWJsZSI6dHJ1ZSwiV2lkdGgiOjAuMCwiSGVpZ2h0IjowLjAsIkJvcmRlclN0eWxlIjp7IiRpZCI6IjM0MSIsIkxpbmVDb2xvciI6bnVsbCwiTGluZVdlaWdodCI6MC4wLCJMaW5lVHlwZSI6MCwiUGFyZW50U3R5bGUiOm51bGx9LCJQYXJlbnRTdHlsZSI6bnVsbH0sIkR1cmF0aW9uU3R5bGUiOnsiJGlkIjoiMzQyIiwiRm9udFNldHRpbmdzIjp7IiRpZCI6IjM0MyIsIkZvbnRTaXplIjoxMCwiRm9udE5hbWUiOiJDYWxpYnJpIiwiSXNCb2xkIjpmYWxzZSwiSXNJdGFsaWMiOmZhbHNlLCJJc1VuZGVybGluZWQiOmZhbHNlLCJQYXJlbnRTdHlsZSI6bnVsbH0sIkF1dG9TaXplIjowLCJGb3JlZ3JvdW5kIjp7IiRpZCI6IjM0NCIsIkNvbG9yIjp7IiRyZWYiOiI5NSJ9fSwiTWF4V2lkdGgiOjIwMC4wLCJNYXhIZWlnaHQiOiJJbmZpbml0eSIsIlNtYXJ0Rm9yZWdyb3VuZElzQWN0aXZlIjpmYWxzZSwiSG9yaXpvbnRhbEFsaWdubWVudCI6MCwiVmVydGljYWxBbGlnbm1lbnQiOjAsIlNtYXJ0Rm9yZWdyb3VuZCI6bnVsbCwiQmFja2dyb3VuZEZpbGxUeXBlIjowLCJNYXJnaW4iOnsiJGlkIjoiMzQ1IiwiVG9wIjowLCJMZWZ0IjowLCJSaWdodCI6MCwiQm90dG9tIjowfSwiUGFkZGluZyI6eyIkaWQiOiIzNDYiLCJUb3AiOjAsIkxlZnQiOjAsIlJpZ2h0IjowLCJCb3R0b20iOjB9LCJCYWNrZ3JvdW5kIjp7IiRyZWYiOiI5OCJ9LCJJc1Zpc2libGUiOnRydWUsIldpZHRoIjowLjAsIkhlaWdodCI6MC4wLCJCb3JkZXJTdHlsZSI6eyIkaWQiOiIzNDciLCJMaW5lQ29sb3IiOm51bGwsIkxpbmVXZWlnaHQiOjAuMCwiTGluZVR5cGUiOjAsIlBhcmVudFN0eWxlIjpudWxsfSwiUGFyZW50U3R5bGUiOm51bGx9LCJIb3Jpem9udGFsQ29ubmVjdG9yU3R5bGUiOnsiJGlkIjoiMzQ4IiwiTGluZUNvbG9yIjp7IiRyZWYiOiIxMDAifSwiTGluZVdlaWdodCI6MS4wLCJMaW5lVHlwZSI6MCwiUGFyZW50U3R5bGUiOm51bGx9LCJWZXJ0aWNhbENvbm5lY3RvclN0eWxlIjp7IiRpZCI6IjM0OSIsIkxpbmVDb2xvciI6eyIkcmVmIjoiMTAzIn0sIkxpbmVXZWlnaHQiOjAuMCwiTGluZVR5cGUiOjAsIlBhcmVudFN0eWxlIjpudWxsfSwiTWFyZ2luIjpudWxsLCJTdGFydERhdGVQb3NpdGlvbiI6NiwiRW5kRGF0ZVBvc2l0aW9uIjo2LCJEYXRlSXNWaXNpYmxlIjpmYWxzZSwiVGl0bGVQb3NpdGlvbiI6MywiRHVyYXRpb25Qb3NpdGlvbiI6NiwiUGVyY2VudGFnZUNvbXBsZXRlZFBvc2l0aW9uIjo2LCJTcGFjaW5nIjozLCJJc0JlbG93VGltZWJhbmQiOnRydWUsIlBlcmNlbnRhZ2VDb21wbGV0ZVNoYXBlT3BhY2l0eSI6MzUsIlNoYXBlU3R5bGUiOnsiJGlkIjoiMzUwIiwiTWFyZ2luIjp7IiRpZCI6IjM1MSIsIlRvcCI6MCwiTGVmdCI6NCwiUmlnaHQiOjQsIkJvdHRvbSI6MH0sIlBhZGRpbmciOnsiJGlkIjoiMzUyIiwiVG9wIjowLCJMZWZ0IjowLCJSaWdodCI6MCwiQm90dG9tIjowfSwiQmFja2dyb3VuZCI6eyIkaWQiOiIzNTMiLCJDb2xvciI6eyIkaWQiOiIzNTQiLCJBIjoyNTUsIlIiOjI1NSwiRyI6MTkyLCJCIjowfX0sIklzVmlzaWJsZSI6dHJ1ZSwiV2lkdGgiOjAuMCwiSGVpZ2h0IjoxMC4wLCJCb3JkZXJTdHlsZSI6eyIkaWQiOiIzNTUiLCJMaW5lQ29sb3IiOnsiJGlkIjoiMzU2IiwiJHR5cGUiOiJOTFJFLkNvbW1vbi5Eb20uU29saWRDb2xvckJydXNoLCBOTFJFLkNvbW1vbiIsIkNvbG9yIjp7IiRpZCI6IjM1NyIsIkEiOjI1NSwiUiI6MjU1LCJHIjowLCJCIjowfX0sIkxpbmVXZWlnaHQiOjAuMCwiTGluZVR5cGUiOjAsIlBhcmVudFN0eWxlIjpudWxsfSwiUGFyZW50U3R5bGUiOm51bGx9LCJUaXRsZVN0eWxlIjp7IiRpZCI6IjM1OCIsIkZvbnRTZXR0aW5ncyI6eyIkaWQiOiIzNTkiLCJGb250U2l6ZSI6OCwiRm9udE5hbWUiOiJDYWxpYnJpIiwiSXNCb2xkIjp0cnVlLCJJc0l0YWxpYyI6ZmFsc2UsIklzVW5kZXJsaW5lZCI6ZmFsc2UsIlBhcmVudFN0eWxlIjpudWxsfSwiQXV0b1NpemUiOjAsIkZvcmVncm91bmQiOnsiJGlkIjoiMzYwIiwiQ29sb3IiOnsiJGlkIjoiMzYxIiwiQSI6MjU1LCJSIjowLCJHIjowLCJCIjowfX0sIk1heFdpZHRoIjo3MjAuMCwiTWF4SGVpZ2h0IjoiSW5maW5pdHkiLCJTbWFydEZvcmVncm91bmRJc0FjdGl2ZSI6ZmFsc2UsIkhvcml6b250YWxBbGlnbm1lbnQiOjIsIlZlcnRpY2FsQWxpZ25tZW50IjowLCJTbWFydEZvcmVncm91bmQiOm51bGwsIkJhY2tncm91bmRGaWxsVHlwZSI6MCwiTWFyZ2luIjp7IiRpZCI6IjM2MiIsIlRvcCI6MCwiTGVmdCI6MCwiUmlnaHQiOjAsIkJvdHRvbSI6MH0sIlBhZGRpbmciOnsiJGlkIjoiMzYzIiwiVG9wIjowLCJMZWZ0IjowLCJSaWdodCI6MCwiQm90dG9tIjowfSwiQmFja2dyb3VuZCI6eyIkaWQiOiIzNjQiLCJDb2xvciI6eyIkaWQiOiIzNjUiLCJBIjowLCJSIjoyNTUsIkciOjI1NSwiQiI6MjU1fX0sIklzVmlzaWJsZSI6dHJ1ZSwiV2lkdGgiOjAuMCwiSGVpZ2h0IjowLjAsIkJvcmRlclN0eWxlIjp7IiRpZCI6IjM2NiIsIkxpbmVDb2xvciI6bnVsbCwiTGluZVdlaWdodCI6MC4wLCJMaW5lVHlwZSI6MCwiUGFyZW50U3R5bGUiOm51bGx9LCJQYXJlbnRTdHlsZSI6bnVsbH0sIkRhdGVTdHlsZSI6eyIkaWQiOiIzNjciLCJGb250U2V0dGluZ3MiOnsiJGlkIjoiMzY4IiwiRm9udFNpemUiOjEwLCJGb250TmFtZSI6IkNhbGlicmkiLCJJc0JvbGQiOmZhbHNlLCJJc0l0YWxpYyI6ZmFsc2UsIklzVW5kZXJsaW5lZCI6ZmFsc2UsIlBhcmVudFN0eWxlIjpudWxsfSwiQXV0b1NpemUiOjAsIkZvcmVncm91bmQiOnsiJGlkIjoiMzY5IiwiQ29sb3IiOnsiJGlkIjoiMzcwIiwiQSI6MjU1LCJSIjo2OCwiRyI6ODQsIkIiOjEwNn19LCJNYXhXaWR0aCI6MjAwLjAsIk1heEhlaWdodCI6IkluZmluaXR5IiwiU21hcnRGb3JlZ3JvdW5kSXNBY3RpdmUiOmZhbHNlLCJIb3Jpem9udGFsQWxpZ25tZW50IjowLCJWZXJ0aWNhbEFsaWdubWVudCI6MCwiU21hcnRGb3JlZ3JvdW5kIjpudWxsLCJCYWNrZ3JvdW5kRmlsbFR5cGUiOjAsIk1hcmdpbiI6eyIkaWQiOiIzNzEiLCJUb3AiOjAsIkxlZnQiOjAsIlJpZ2h0IjowLCJCb3R0b20iOjB9LCJQYWRkaW5nIjp7IiRpZCI6IjM3MiIsIlRvcCI6MCwiTGVmdCI6MCwiUmlnaHQiOjAsIkJvdHRvbSI6MH0sIkJhY2tncm91bmQiOnsiJHJlZiI6IjEyNiJ9LCJJc1Zpc2libGUiOnRydWUsIldpZHRoIjowLjAsIkhlaWdodCI6MC4wLCJCb3JkZXJTdHlsZSI6eyIkaWQiOiIzNzMiLCJMaW5lQ29sb3IiOm51bGwsIkxpbmVXZWlnaHQiOjAuMCwiTGluZVR5cGUiOjAsIlBhcmVudFN0eWxlIjpudWxsfSwiUGFyZW50U3R5bGUiOm51bGx9LCJEYXRlRm9ybWF0Ijp7IiRpZCI6IjM3NCIsIkZvcm1hdFN0cmluZyI6Ik1NTSBkIiwiU2VwYXJhdG9yIjoiLyIsIlVzZUludGVybmF0aW9uYWxEYXRlRm9ybWF0IjpmYWxzZSwiRGF0ZUlzVmlzaWJsZSI6dHJ1ZSwiVGltZUlzVmlzaWJsZSI6ZmFsc2UsIkhvdXJEaWdpdHMiOjEsIkFtUG1EZXNpZ25hdG9yIjoyLCJUcmltMDBNaW51dGVzIjpmYWxzZSwiTGFzdEtub3duVmlzaWJpbGl0eVN0YXRlIjpudWxsfSwiV2Vla051bWJlcmluZyI6eyIkaWQiOiIzNzUiLCJGb3JtYXQiOjAsIklzVmlzaWJsZSI6ZmFsc2UsIkxhc3RLbm93blZpc2liaWxpdHlTdGF0ZSI6ZmFsc2V9LCJJc1Zpc2libGUiOnRydWUsIlBhcmVudFN0eWxlIjpudWxsfSwiSW5kZXgiOjUsIlNtYXJ0RHVyYXRpb25BY3RpdmF0ZWQiOmZhbHNlLCJEYXRlRm9ybWF0Ijp7IiRyZWYiOiIzNzQifSwiV2Vla051bWJlcmluZyI6eyIkaWQiOiIzNzYiLCJGb3JtYXQiOjAsIklzVmlzaWJsZSI6ZmFsc2UsIkxhc3RLbm93blZpc2liaWxpdHlTdGF0ZSI6ZmFsc2V9LCJJZCI6ImNiYzYwNTMyLTczNjctNDc0Mi05ODJlLTg1ZDU0Mjk3ODA2NCIsIkltcG9ydElkIjpudWxsLCJUaXRsZSI6IktpY2stT2ZmIFdvcmtzaG9wIiwiTm90ZSI6bnVsbCwiSHlwZXJsaW5rIjp7IiRpZCI6IjM3NyIsIkFkZHJlc3MiOm51bGwsIlN1YkFkZHJlc3MiOm51bGx9LCJJc0NoYW5nZWQiOmZhbHNlLCJJc05ldyI6ZmFsc2V9LCJJbmRleCI6MH0seyIkaWQiOiIzNzgiLCJfYXR0YWNoZWRNaWxlc3RvbmVzIjpbXSwiVGFza0RlZmluaXRpb24iOnsiJGlkIjoiMzc5IiwiR3JvdXBOYW1lIjoiOWU3OTQ4MjAtZDA1Yy00ODQxLWFmZDEtNWYwMmE0NWMyZDdhIiwiU3RhcnREYXRlIjoiMjAyMC0wOS0yMVQyMzo1OTowMFoiLCJFbmREYXRlIjoiMjAyMC0xMC0wMlQyMzo1OTowMFoiLCJQZXJjZW50YWdlQ29tcGxldGUiOm51bGwsIlN0eWxlIjp7IiRpZCI6IjM4MCIsIlNoYXBlIjoxLCJTaGFwZVRoaWNrbmVzcyI6MCwiRHVyYXRpb25Gb3JtYXQiOjAsIkluY2x1ZGVOb25Xb3JraW5nRGF5c0luRHVyYXRpb24iOmZhbHNlLCJQZXJjZW50YWdlQ29tcGxldGVTdHlsZSI6eyIkaWQiOiIzODEiLCJGb250U2V0dGluZ3MiOnsiJGlkIjoiMzgyIiwiRm9udFNpemUiOjEwLCJGb250TmFtZSI6IkNhbGlicmkiLCJJc0JvbGQiOmZhbHNlLCJJc0l0YWxpYyI6ZmFsc2UsIklzVW5kZXJsaW5lZCI6ZmFsc2UsIlBhcmVudFN0eWxlIjpudWxsfSwiQXV0b1NpemUiOjAsIkZvcmVncm91bmQiOnsiJHJlZiI6IjMzNyJ9LCJNYXhXaWR0aCI6MjAwLjAsIk1heEhlaWdodCI6IkluZmluaXR5IiwiU21hcnRGb3JlZ3JvdW5kSXNBY3RpdmUiOmZhbHNlLCJIb3Jpem9udGFsQWxpZ25tZW50IjowLCJWZXJ0aWNhbEFsaWdubWVudCI6MCwiU21hcnRGb3JlZ3JvdW5kIjpudWxsLCJCYWNrZ3JvdW5kRmlsbFR5cGUiOjAsIk1hcmdpbiI6eyIkaWQiOiIzODMiLCJUb3AiOjAsIkxlZnQiOjAsIlJpZ2h0IjowLCJCb3R0b20iOjB9LCJQYWRkaW5nIjp7IiRpZCI6IjM4NCIsIlRvcCI6MCwiTGVmdCI6MCwiUmlnaHQiOjAsIkJvdHRvbSI6MH0sIkJhY2tncm91bmQiOnsiJHJlZiI6IjkxIn0sIklzVmlzaWJsZSI6dHJ1ZSwiV2lkdGgiOjAuMCwiSGVpZ2h0IjowLjAsIkJvcmRlclN0eWxlIjp7IiRpZCI6IjM4NSIsIkxpbmVDb2xvciI6bnVsbCwiTGluZVdlaWdodCI6MC4wLCJMaW5lVHlwZSI6MCwiUGFyZW50U3R5bGUiOm51bGx9LCJQYXJlbnRTdHlsZSI6bnVsbH0sIkR1cmF0aW9uU3R5bGUiOnsiJGlkIjoiMzg2IiwiRm9udFNldHRpbmdzIjp7IiRpZCI6IjM4NyIsIkZvbnRTaXplIjoxMCwiRm9udE5hbWUiOiJDYWxpYnJpIiwiSXNCb2xkIjpmYWxzZSwiSXNJdGFsaWMiOmZhbHNlLCJJc1VuZGVybGluZWQiOmZhbHNlLCJQYXJlbnRTdHlsZSI6bnVsbH0sIkF1dG9TaXplIjowLCJGb3JlZ3JvdW5kIjp7IiRpZCI6IjM4OCIsIkNvbG9yIjp7IiRpZCI6IjM4OSIsIkEiOjI1NSwiUiI6MjM3LCJHIjoxMjUsIkIiOjQ5fX0sIk1heFdpZHRoIjoyMDAuMCwiTWF4SGVpZ2h0IjoiSW5maW5pdHkiLCJTbWFydEZvcmVncm91bmRJc0FjdGl2ZSI6ZmFsc2UsIkhvcml6b250YWxBbGlnbm1lbnQiOjAsIlZlcnRpY2FsQWxpZ25tZW50IjowLCJTbWFydEZvcmVncm91bmQiOm51bGwsIkJhY2tncm91bmRGaWxsVHlwZSI6MCwiTWFyZ2luIjp7IiRpZCI6IjM5MCIsIlRvcCI6MCwiTGVmdCI6MCwiUmlnaHQiOjAsIkJvdHRvbSI6MH0sIlBhZGRpbmciOnsiJGlkIjoiMzkxIiwiVG9wIjowLCJMZWZ0IjowLCJSaWdodCI6MCwiQm90dG9tIjowfSwiQmFja2dyb3VuZCI6eyIkcmVmIjoiOTgifSwiSXNWaXNpYmxlIjp0cnVlLCJXaWR0aCI6MC4wLCJIZWlnaHQiOjAuMCwiQm9yZGVyU3R5bGUiOnsiJGlkIjoiMzkyIiwiTGluZUNvbG9yIjpudWxsLCJMaW5lV2VpZ2h0IjowLjAsIkxpbmVUeXBlIjowLCJQYXJlbnRTdHlsZSI6bnVsbH0sIlBhcmVudFN0eWxlIjpudWxsfSwiSG9yaXpvbnRhbENvbm5lY3RvclN0eWxlIjp7IiRpZCI6IjM5MyIsIkxpbmVDb2xvciI6eyIkcmVmIjoiMTAwIn0sIkxpbmVXZWlnaHQiOjEuMCwiTGluZVR5cGUiOjAsIlBhcmVudFN0eWxlIjpudWxsfSwiVmVydGljYWxDb25uZWN0b3JTdHlsZSI6eyIkaWQiOiIzOTQiLCJMaW5lQ29sb3IiOnsiJHJlZiI6IjEwMyJ9LCJMaW5lV2VpZ2h0IjowLjAsIkxpbmVUeXBlIjowLCJQYXJlbnRTdHlsZSI6bnVsbH0sIk1hcmdpbiI6bnVsbCwiU3RhcnREYXRlUG9zaXRpb24iOjYsIkVuZERhdGVQb3NpdGlvbiI6NiwiRGF0ZUlzVmlzaWJsZSI6ZmFsc2UsIlRpdGxlUG9zaXRpb24iOjMsIkR1cmF0aW9uUG9zaXRpb24iOjYsIlBlcmNlbnRhZ2VDb21wbGV0ZWRQb3NpdGlvbiI6NiwiU3BhY2luZyI6MywiSXNCZWxvd1RpbWViYW5kIjp0cnVlLCJQZXJjZW50YWdlQ29tcGxldGVTaGFwZU9wYWNpdHkiOjM1LCJTaGFwZVN0eWxlIjp7IiRpZCI6IjM5NSIsIk1hcmdpbiI6eyIkaWQiOiIzOTYiLCJUb3AiOjAsIkxlZnQiOjQsIlJpZ2h0Ijo0LCJCb3R0b20iOjB9LCJQYWRkaW5nIjp7IiRpZCI6IjM5NyIsIlRvcCI6MCwiTGVmdCI6MCwiUmlnaHQiOjAsIkJvdHRvbSI6MH0sIkJhY2tncm91bmQiOnsiJGlkIjoiMzk4IiwiQ29sb3IiOnsiJGlkIjoiMzk5IiwiQSI6MjU1LCJSIjoyNTUsIkciOjE5MiwiQiI6MH19LCJJc1Zpc2libGUiOnRydWUsIldpZHRoIjowLjAsIkhlaWdodCI6MTAuMCwiQm9yZGVyU3R5bGUiOnsiJGlkIjoiNDAwIiwiTGluZUNvbG9yIjp7IiRyZWYiOiIzNTYifSwiTGluZVdlaWdodCI6MC4wLCJMaW5lVHlwZSI6MCwiUGFyZW50U3R5bGUiOm51bGx9LCJQYXJlbnRTdHlsZSI6bnVsbH0sIlRpdGxlU3R5bGUiOnsiJGlkIjoiNDAxIiwiRm9udFNldHRpbmdzIjp7IiRpZCI6IjQwMiIsIkZvbnRTaXplIjo4LCJGb250TmFtZSI6IkNhbGlicmkiLCJJc0JvbGQiOnRydWUsIklzSXRhbGljIjpmYWxzZSwiSXNVbmRlcmxpbmVkIjpmYWxzZSwiUGFyZW50U3R5bGUiOm51bGx9LCJBdXRvU2l6ZSI6MCwiRm9yZWdyb3VuZCI6eyIkaWQiOiI0MDMiLCJDb2xvciI6eyIkaWQiOiI0MDQiLCJBIjoyNTUsIlIiOjAsIkciOjAsIkIiOjB9fSwiTWF4V2lkdGgiOjcyMC4wLCJNYXhIZWlnaHQiOiJJbmZpbml0eSIsIlNtYXJ0Rm9yZWdyb3VuZElzQWN0aXZlIjpmYWxzZSwiSG9yaXpvbnRhbEFsaWdubWVudCI6MiwiVmVydGljYWxBbGlnbm1lbnQiOjAsIlNtYXJ0Rm9yZWdyb3VuZCI6bnVsbCwiQmFja2dyb3VuZEZpbGxUeXBlIjowLCJNYXJnaW4iOnsiJGlkIjoiNDA1IiwiVG9wIjowLCJMZWZ0IjowLCJSaWdodCI6MCwiQm90dG9tIjowfSwiUGFkZGluZyI6eyIkaWQiOiI0MDYiLCJUb3AiOjAsIkxlZnQiOjAsIlJpZ2h0IjowLCJCb3R0b20iOjB9LCJCYWNrZ3JvdW5kIjp7IiRpZCI6IjQwNyIsIkNvbG9yIjp7IiRpZCI6IjQwOCIsIkEiOjAsIlIiOjI1NSwiRyI6MjU1LCJCIjoyNTV9fSwiSXNWaXNpYmxlIjp0cnVlLCJXaWR0aCI6MC4wLCJIZWlnaHQiOjAuMCwiQm9yZGVyU3R5bGUiOnsiJGlkIjoiNDA5IiwiTGluZUNvbG9yIjpudWxsLCJMaW5lV2VpZ2h0IjowLjAsIkxpbmVUeXBlIjowLCJQYXJlbnRTdHlsZSI6bnVsbH0sIlBhcmVudFN0eWxlIjpudWxsfSwiRGF0ZVN0eWxlIjp7IiRpZCI6IjQxMCIsIkZvbnRTZXR0aW5ncyI6eyIkaWQiOiI0MTEiLCJGb250U2l6ZSI6MTAsIkZvbnROYW1lIjoiQ2FsaWJyaSIsIklzQm9sZCI6ZmFsc2UsIklzSXRhbGljIjpmYWxzZSwiSXNVbmRlcmxpbmVkIjpmYWxzZSwiUGFyZW50U3R5bGUiOm51bGx9LCJBdXRvU2l6ZSI6MCwiRm9yZWdyb3VuZCI6eyIkaWQiOiI0MTIiLCJDb2xvciI6eyIkaWQiOiI0MTM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pZCI6IjQxNCIsIlRvcCI6MCwiTGVmdCI6MCwiUmlnaHQiOjAsIkJvdHRvbSI6MH0sIlBhZGRpbmciOnsiJGlkIjoiNDE1IiwiVG9wIjowLCJMZWZ0IjowLCJSaWdodCI6MCwiQm90dG9tIjowfSwiQmFja2dyb3VuZCI6eyIkcmVmIjoiMTI2In0sIklzVmlzaWJsZSI6dHJ1ZSwiV2lkdGgiOjAuMCwiSGVpZ2h0IjowLjAsIkJvcmRlclN0eWxlIjp7IiRpZCI6IjQxNiIsIkxpbmVDb2xvciI6bnVsbCwiTGluZVdlaWdodCI6MC4wLCJMaW5lVHlwZSI6MCwiUGFyZW50U3R5bGUiOm51bGx9LCJQYXJlbnRTdHlsZSI6bnVsbH0sIkRhdGVGb3JtYXQiOnsiJGlkIjoiNDE3IiwiRm9ybWF0U3RyaW5nIjoiTU1NIGQiLCJTZXBhcmF0b3IiOiIvIiwiVXNlSW50ZXJuYXRpb25hbERhdGVGb3JtYXQiOmZhbHNlLCJEYXRlSXNWaXNpYmxlIjp0cnVlLCJUaW1lSXNWaXNpYmxlIjpmYWxzZSwiSG91ckRpZ2l0cyI6MSwiQW1QbURlc2lnbmF0b3IiOjIsIlRyaW0wME1pbnV0ZXMiOmZhbHNlLCJMYXN0S25vd25WaXNpYmlsaXR5U3RhdGUiOm51bGx9LCJXZWVrTnVtYmVyaW5nIjp7IiRpZCI6IjQxOCIsIkZvcm1hdCI6MCwiSXNWaXNpYmxlIjpmYWxzZSwiTGFzdEtub3duVmlzaWJpbGl0eVN0YXRlIjpmYWxzZX0sIklzVmlzaWJsZSI6dHJ1ZSwiUGFyZW50U3R5bGUiOm51bGx9LCJJbmRleCI6NywiU21hcnREdXJhdGlvbkFjdGl2YXRlZCI6ZmFsc2UsIkRhdGVGb3JtYXQiOnsiJHJlZiI6IjQxNyJ9LCJXZWVrTnVtYmVyaW5nIjp7IiRpZCI6IjQxOSIsIkZvcm1hdCI6MCwiSXNWaXNpYmxlIjpmYWxzZSwiTGFzdEtub3duVmlzaWJpbGl0eVN0YXRlIjpmYWxzZX0sIklkIjoiMmZmNWI4ZTAtMzRiNi00YTgyLTg2MjItMTQ3ZGE5YTJmNmIyIiwiSW1wb3J0SWQiOm51bGwsIlRpdGxlIjoiUzE6IFBsYW5uaW5nICYgRGVzaWduIFdvcmtzaG9wcyIsIk5vdGUiOm51bGwsIkh5cGVybGluayI6eyIkaWQiOiI0MjAiLCJBZGRyZXNzIjpudWxsLCJTdWJBZGRyZXNzIjpudWxsfSwiSXNDaGFuZ2VkIjpmYWxzZSwiSXNOZXciOmZhbHNlfSwiSW5kZXgiOjB9LHsiJGlkIjoiNDIxIiwiX2F0dGFjaGVkTWlsZXN0b25lcyI6W10sIlRhc2tEZWZpbml0aW9uIjp7IiRpZCI6IjQyMiIsIkdyb3VwTmFtZSI6IjUwMGYyN2VjLWRkOTEtNDMxMy05MmNjLTU2Y2FiODY3MGViOCIsIlN0YXJ0RGF0ZSI6IjIwMjAtMTAtMDVUMjM6NTk6MDBaIiwiRW5kRGF0ZSI6IjIwMjAtMTAtMTZUMjM6NTk6MDBaIiwiUGVyY2VudGFnZUNvbXBsZXRlIjpudWxsLCJTdHlsZSI6eyIkaWQiOiI0MjMiLCJTaGFwZSI6MSwiU2hhcGVUaGlja25lc3MiOjAsIkR1cmF0aW9uRm9ybWF0IjowLCJJbmNsdWRlTm9uV29ya2luZ0RheXNJbkR1cmF0aW9uIjpmYWxzZSwiUGVyY2VudGFnZUNvbXBsZXRlU3R5bGUiOnsiJGlkIjoiNDI0IiwiRm9udFNldHRpbmdzIjp7IiRpZCI6IjQyNSIsIkZvbnRTaXplIjoxMCwiRm9udE5hbWUiOiJDYWxpYnJpIiwiSXNCb2xkIjpmYWxzZSwiSXNJdGFsaWMiOmZhbHNlLCJJc1VuZGVybGluZWQiOmZhbHNlLCJQYXJlbnRTdHlsZSI6bnVsbH0sIkF1dG9TaXplIjowLCJGb3JlZ3JvdW5kIjp7IiRpZCI6IjQyNiIsIkNvbG9yIjp7IiRpZCI6IjQyNyIsIkEiOjI1NSwiUiI6MTkyLCJHIjo4MCwiQiI6Nzd9fSwiTWF4V2lkdGgiOjIwMC4wLCJNYXhIZWlnaHQiOiJJbmZpbml0eSIsIlNtYXJ0Rm9yZWdyb3VuZElzQWN0aXZlIjpmYWxzZSwiSG9yaXpvbnRhbEFsaWdubWVudCI6MCwiVmVydGljYWxBbGlnbm1lbnQiOjAsIlNtYXJ0Rm9yZWdyb3VuZCI6bnVsbCwiQmFja2dyb3VuZEZpbGxUeXBlIjowLCJNYXJnaW4iOnsiJGlkIjoiNDI4IiwiVG9wIjowLCJMZWZ0IjowLCJSaWdodCI6MCwiQm90dG9tIjowfSwiUGFkZGluZyI6eyIkaWQiOiI0MjkiLCJUb3AiOjAsIkxlZnQiOjAsIlJpZ2h0IjowLCJCb3R0b20iOjB9LCJCYWNrZ3JvdW5kIjp7IiRyZWYiOiI5MSJ9LCJJc1Zpc2libGUiOnRydWUsIldpZHRoIjowLjAsIkhlaWdodCI6MC4wLCJCb3JkZXJTdHlsZSI6eyIkaWQiOiI0MzAiLCJMaW5lQ29sb3IiOm51bGwsIkxpbmVXZWlnaHQiOjAuMCwiTGluZVR5cGUiOjAsIlBhcmVudFN0eWxlIjpudWxsfSwiUGFyZW50U3R5bGUiOm51bGx9LCJEdXJhdGlvblN0eWxlIjp7IiRpZCI6IjQzMSIsIkZvbnRTZXR0aW5ncyI6eyIkaWQiOiI0MzIiLCJGb250U2l6ZSI6MTAsIkZvbnROYW1lIjoiQ2FsaWJyaSIsIklzQm9sZCI6ZmFsc2UsIklzSXRhbGljIjpmYWxzZSwiSXNVbmRlcmxpbmVkIjpmYWxzZSwiUGFyZW50U3R5bGUiOm51bGx9LCJBdXRvU2l6ZSI6MCwiRm9yZWdyb3VuZCI6eyIkaWQiOiI0MzMiLCJDb2xvciI6eyIkcmVmIjoiOTUifX0sIk1heFdpZHRoIjoyMDAuMCwiTWF4SGVpZ2h0IjoiSW5maW5pdHkiLCJTbWFydEZvcmVncm91bmRJc0FjdGl2ZSI6ZmFsc2UsIkhvcml6b250YWxBbGlnbm1lbnQiOjAsIlZlcnRpY2FsQWxpZ25tZW50IjowLCJTbWFydEZvcmVncm91bmQiOm51bGwsIkJhY2tncm91bmRGaWxsVHlwZSI6MCwiTWFyZ2luIjp7IiRpZCI6IjQzNCIsIlRvcCI6MCwiTGVmdCI6MCwiUmlnaHQiOjAsIkJvdHRvbSI6MH0sIlBhZGRpbmciOnsiJGlkIjoiNDM1IiwiVG9wIjowLCJMZWZ0IjowLCJSaWdodCI6MCwiQm90dG9tIjowfSwiQmFja2dyb3VuZCI6eyIkcmVmIjoiOTgifSwiSXNWaXNpYmxlIjp0cnVlLCJXaWR0aCI6MC4wLCJIZWlnaHQiOjAuMCwiQm9yZGVyU3R5bGUiOnsiJGlkIjoiNDM2IiwiTGluZUNvbG9yIjpudWxsLCJMaW5lV2VpZ2h0IjowLjAsIkxpbmVUeXBlIjowLCJQYXJlbnRTdHlsZSI6bnVsbH0sIlBhcmVudFN0eWxlIjpudWxsfSwiSG9yaXpvbnRhbENvbm5lY3RvclN0eWxlIjp7IiRpZCI6IjQzNyIsIkxpbmVDb2xvciI6eyIkcmVmIjoiMTAwIn0sIkxpbmVXZWlnaHQiOjEuMCwiTGluZVR5cGUiOjAsIlBhcmVudFN0eWxlIjpudWxsfSwiVmVydGljYWxDb25uZWN0b3JTdHlsZSI6eyIkaWQiOiI0MzgiLCJMaW5lQ29sb3IiOnsiJHJlZiI6IjEwMyJ9LCJMaW5lV2VpZ2h0IjowLjAsIkxpbmVUeXBlIjowLCJQYXJlbnRTdHlsZSI6bnVsbH0sIk1hcmdpbiI6bnVsbCwiU3RhcnREYXRlUG9zaXRpb24iOjYsIkVuZERhdGVQb3NpdGlvbiI6NiwiRGF0ZUlzVmlzaWJsZSI6ZmFsc2UsIlRpdGxlUG9zaXRpb24iOjMsIkR1cmF0aW9uUG9zaXRpb24iOjYsIlBlcmNlbnRhZ2VDb21wbGV0ZWRQb3NpdGlvbiI6NiwiU3BhY2luZyI6MywiSXNCZWxvd1RpbWViYW5kIjp0cnVlLCJQZXJjZW50YWdlQ29tcGxldGVTaGFwZU9wYWNpdHkiOjM1LCJTaGFwZVN0eWxlIjp7IiRpZCI6IjQzOSIsIk1hcmdpbiI6eyIkaWQiOiI0NDAiLCJUb3AiOjAsIkxlZnQiOjQsIlJpZ2h0Ijo0LCJCb3R0b20iOjB9LCJQYWRkaW5nIjp7IiRpZCI6IjQ0MSIsIlRvcCI6MCwiTGVmdCI6MCwiUmlnaHQiOjAsIkJvdHRvbSI6MH0sIkJhY2tncm91bmQiOnsiJGlkIjoiNDQyIiwiQ29sb3IiOnsiJGlkIjoiNDQzIiwiQSI6MjU1LCJSIjoyNTUsIkciOjE5MiwiQiI6MH19LCJJc1Zpc2libGUiOnRydWUsIldpZHRoIjowLjAsIkhlaWdodCI6MTAuMCwiQm9yZGVyU3R5bGUiOnsiJGlkIjoiNDQ0IiwiTGluZUNvbG9yIjp7IiRyZWYiOiIzNTYifSwiTGluZVdlaWdodCI6MC4wLCJMaW5lVHlwZSI6MCwiUGFyZW50U3R5bGUiOm51bGx9LCJQYXJlbnRTdHlsZSI6bnVsbH0sIlRpdGxlU3R5bGUiOnsiJGlkIjoiNDQ1IiwiRm9udFNldHRpbmdzIjp7IiRpZCI6IjQ0NiIsIkZvbnRTaXplIjo4LCJGb250TmFtZSI6IkNhbGlicmkiLCJJc0JvbGQiOnRydWUsIklzSXRhbGljIjpmYWxzZSwiSXNVbmRlcmxpbmVkIjpmYWxzZSwiUGFyZW50U3R5bGUiOm51bGx9LCJBdXRvU2l6ZSI6MCwiRm9yZWdyb3VuZCI6eyIkaWQiOiI0NDciLCJDb2xvciI6eyIkaWQiOiI0NDgiLCJBIjoyNTUsIlIiOjAsIkciOjAsIkIiOjB9fSwiTWF4V2lkdGgiOjcyMC4wLCJNYXhIZWlnaHQiOiJJbmZpbml0eSIsIlNtYXJ0Rm9yZWdyb3VuZElzQWN0aXZlIjpmYWxzZSwiSG9yaXpvbnRhbEFsaWdubWVudCI6MiwiVmVydGljYWxBbGlnbm1lbnQiOjAsIlNtYXJ0Rm9yZWdyb3VuZCI6bnVsbCwiQmFja2dyb3VuZEZpbGxUeXBlIjowLCJNYXJnaW4iOnsiJGlkIjoiNDQ5IiwiVG9wIjowLCJMZWZ0IjowLCJSaWdodCI6MCwiQm90dG9tIjowfSwiUGFkZGluZyI6eyIkaWQiOiI0NTAiLCJUb3AiOjAsIkxlZnQiOjAsIlJpZ2h0IjowLCJCb3R0b20iOjB9LCJCYWNrZ3JvdW5kIjp7IiRpZCI6IjQ1MSIsIkNvbG9yIjp7IiRpZCI6IjQ1MiIsIkEiOjAsIlIiOjI1NSwiRyI6MjU1LCJCIjoyNTV9fSwiSXNWaXNpYmxlIjp0cnVlLCJXaWR0aCI6MC4wLCJIZWlnaHQiOjAuMCwiQm9yZGVyU3R5bGUiOnsiJGlkIjoiNDUzIiwiTGluZUNvbG9yIjpudWxsLCJMaW5lV2VpZ2h0IjowLjAsIkxpbmVUeXBlIjowLCJQYXJlbnRTdHlsZSI6bnVsbH0sIlBhcmVudFN0eWxlIjpudWxsfSwiRGF0ZVN0eWxlIjp7IiRpZCI6IjQ1NCIsIkZvbnRTZXR0aW5ncyI6eyIkaWQiOiI0NTUiLCJGb250U2l6ZSI6MTAsIkZvbnROYW1lIjoiQ2FsaWJyaSIsIklzQm9sZCI6ZmFsc2UsIklzSXRhbGljIjpmYWxzZSwiSXNVbmRlcmxpbmVkIjpmYWxzZSwiUGFyZW50U3R5bGUiOm51bGx9LCJBdXRvU2l6ZSI6MCwiRm9yZWdyb3VuZCI6eyIkaWQiOiI0NTYiLCJDb2xvciI6eyIkaWQiOiI0NTc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pZCI6IjQ1OCIsIlRvcCI6MCwiTGVmdCI6MCwiUmlnaHQiOjAsIkJvdHRvbSI6MH0sIlBhZGRpbmciOnsiJGlkIjoiNDU5IiwiVG9wIjowLCJMZWZ0IjowLCJSaWdodCI6MCwiQm90dG9tIjowfSwiQmFja2dyb3VuZCI6eyIkcmVmIjoiMTI2In0sIklzVmlzaWJsZSI6dHJ1ZSwiV2lkdGgiOjAuMCwiSGVpZ2h0IjowLjAsIkJvcmRlclN0eWxlIjp7IiRpZCI6IjQ2MCIsIkxpbmVDb2xvciI6bnVsbCwiTGluZVdlaWdodCI6MC4wLCJMaW5lVHlwZSI6MCwiUGFyZW50U3R5bGUiOm51bGx9LCJQYXJlbnRTdHlsZSI6bnVsbH0sIkRhdGVGb3JtYXQiOnsiJGlkIjoiNDYxIiwiRm9ybWF0U3RyaW5nIjoiTS9kIiwiU2VwYXJhdG9yIjoiLyIsIlVzZUludGVybmF0aW9uYWxEYXRlRm9ybWF0IjpmYWxzZSwiRGF0ZUlzVmlzaWJsZSI6dHJ1ZSwiVGltZUlzVmlzaWJsZSI6ZmFsc2UsIkhvdXJEaWdpdHMiOjEsIkFtUG1EZXNpZ25hdG9yIjoyLCJUcmltMDBNaW51dGVzIjpmYWxzZSwiTGFzdEtub3duVmlzaWJpbGl0eVN0YXRlIjpudWxsfSwiV2Vla051bWJlcmluZyI6eyIkaWQiOiI0NjIiLCJGb3JtYXQiOjAsIklzVmlzaWJsZSI6ZmFsc2UsIkxhc3RLbm93blZpc2liaWxpdHlTdGF0ZSI6ZmFsc2V9LCJJc1Zpc2libGUiOnRydWUsIlBhcmVudFN0eWxlIjpudWxsfSwiSW5kZXgiOjksIlNtYXJ0RHVyYXRpb25BY3RpdmF0ZWQiOmZhbHNlLCJEYXRlRm9ybWF0Ijp7IiRyZWYiOiI0NjEifSwiV2Vla051bWJlcmluZyI6eyIkaWQiOiI0NjMiLCJGb3JtYXQiOjAsIklzVmlzaWJsZSI6ZmFsc2UsIkxhc3RLbm93blZpc2liaWxpdHlTdGF0ZSI6ZmFsc2V9LCJJZCI6IjdjYTMyYWNkLTU5MDgtNDcxYS05MDQyLTk2YjA3MDExMTU5NSIsIkltcG9ydElkIjpudWxsLCJUaXRsZSI6IlMyOiBJbXBsZW1lbnRhdGlvbiBEZXNpZ24iLCJOb3RlIjpudWxsLCJIeXBlcmxpbmsiOnsiJGlkIjoiNDY0IiwiQWRkcmVzcyI6bnVsbCwiU3ViQWRkcmVzcyI6bnVsbH0sIklzQ2hhbmdlZCI6ZmFsc2UsIklzTmV3IjpmYWxzZX0sIkluZGV4IjowfSx7IiRpZCI6IjQ2NSIsIl9hdHRhY2hlZE1pbGVzdG9uZXMiOltdLCJUYXNrRGVmaW5pdGlvbiI6eyIkaWQiOiI0NjYiLCJHcm91cE5hbWUiOm51bGwsIlN0YXJ0RGF0ZSI6IjIwMjAtMTAtMTlUMjM6NTk6MDBaIiwiRW5kRGF0ZSI6IjIwMjAtMTAtMzBUMjM6NTk6MDBaIiwiUGVyY2VudGFnZUNvbXBsZXRlIjpudWxsLCJTdHlsZSI6eyIkaWQiOiI0NjciLCJTaGFwZSI6MSwiU2hhcGVUaGlja25lc3MiOjAsIkR1cmF0aW9uRm9ybWF0IjowLCJJbmNsdWRlTm9uV29ya2luZ0RheXNJbkR1cmF0aW9uIjpmYWxzZSwiUGVyY2VudGFnZUNvbXBsZXRlU3R5bGUiOnsiJGlkIjoiNDY4IiwiRm9udFNldHRpbmdzIjp7IiRpZCI6IjQ2OSIsIkZvbnRTaXplIjoxMCwiRm9udE5hbWUiOiJDYWxpYnJpIiwiSXNCb2xkIjpmYWxzZSwiSXNJdGFsaWMiOmZhbHNlLCJJc1VuZGVybGluZWQiOmZhbHNlLCJQYXJlbnRTdHlsZSI6bnVsbH0sIkF1dG9TaXplIjowLCJGb3JlZ3JvdW5kIjp7IiRyZWYiOiI4NyJ9LCJNYXhXaWR0aCI6MjAwLjAsIk1heEhlaWdodCI6IkluZmluaXR5IiwiU21hcnRGb3JlZ3JvdW5kSXNBY3RpdmUiOmZhbHNlLCJIb3Jpem9udGFsQWxpZ25tZW50IjowLCJWZXJ0aWNhbEFsaWdubWVudCI6MCwiU21hcnRGb3JlZ3JvdW5kIjpudWxsLCJCYWNrZ3JvdW5kRmlsbFR5cGUiOjAsIk1hcmdpbiI6eyIkcmVmIjoiODkifSwiUGFkZGluZyI6eyIkcmVmIjoiOTAifSwiQmFja2dyb3VuZCI6eyIkcmVmIjoiOTEifSwiSXNWaXNpYmxlIjp0cnVlLCJXaWR0aCI6MC4wLCJIZWlnaHQiOjAuMCwiQm9yZGVyU3R5bGUiOnsiJGlkIjoiNDcwIiwiTGluZUNvbG9yIjpudWxsLCJMaW5lV2VpZ2h0IjowLjAsIkxpbmVUeXBlIjowLCJQYXJlbnRTdHlsZSI6bnVsbH0sIlBhcmVudFN0eWxlIjpudWxsfSwiRHVyYXRpb25TdHlsZSI6eyIkaWQiOiI0NzEiLCJGb250U2V0dGluZ3MiOnsiJGlkIjoiNDcyIiwiRm9udFNpemUiOjEwLCJGb250TmFtZSI6IkNhbGlicmkiLCJJc0JvbGQiOmZhbHNlLCJJc0l0YWxpYyI6ZmFsc2UsIklzVW5kZXJsaW5lZCI6ZmFsc2UsIlBhcmVudFN0eWxlIjpudWxsfSwiQXV0b1NpemUiOjAsIkZvcmVncm91bmQiOnsiJHJlZiI6Ijk0In0sIk1heFdpZHRoIjoyMDAuMCwiTWF4SGVpZ2h0IjoiSW5maW5pdHkiLCJTbWFydEZvcmVncm91bmRJc0FjdGl2ZSI6ZmFsc2UsIkhvcml6b250YWxBbGlnbm1lbnQiOjAsIlZlcnRpY2FsQWxpZ25tZW50IjowLCJTbWFydEZvcmVncm91bmQiOm51bGwsIkJhY2tncm91bmRGaWxsVHlwZSI6MCwiTWFyZ2luIjp7IiRyZWYiOiI5NiJ9LCJQYWRkaW5nIjp7IiRyZWYiOiI5NyJ9LCJCYWNrZ3JvdW5kIjp7IiRyZWYiOiI5OCJ9LCJJc1Zpc2libGUiOnRydWUsIldpZHRoIjowLjAsIkhlaWdodCI6MC4wLCJCb3JkZXJTdHlsZSI6eyIkaWQiOiI0NzMiLCJMaW5lQ29sb3IiOm51bGwsIkxpbmVXZWlnaHQiOjAuMCwiTGluZVR5cGUiOjAsIlBhcmVudFN0eWxlIjpudWxsfSwiUGFyZW50U3R5bGUiOm51bGx9LCJIb3Jpem9udGFsQ29ubmVjdG9yU3R5bGUiOnsiJGlkIjoiNDc0IiwiTGluZUNvbG9yIjp7IiRyZWYiOiIxMDAifSwiTGluZVdlaWdodCI6MS4wLCJMaW5lVHlwZSI6MCwiUGFyZW50U3R5bGUiOm51bGx9LCJWZXJ0aWNhbENvbm5lY3RvclN0eWxlIjp7IiRpZCI6IjQ3NSIsIkxpbmVDb2xvciI6eyIkcmVmIjoiMTAzIn0sIkxpbmVXZWlnaHQiOjAuMCwiTGluZVR5cGUiOjAsIlBhcmVudFN0eWxlIjpudWxsfSwiTWFyZ2luIjpudWxsLCJTdGFydERhdGVQb3NpdGlvbiI6NiwiRW5kRGF0ZVBvc2l0aW9uIjo2LCJEYXRlSXNWaXNpYmxlIjpmYWxzZSwiVGl0bGVQb3NpdGlvbiI6MywiRHVyYXRpb25Qb3NpdGlvbiI6NiwiUGVyY2VudGFnZUNvbXBsZXRlZFBvc2l0aW9uIjo2LCJTcGFjaW5nIjozLCJJc0JlbG93VGltZWJhbmQiOnRydWUsIlBlcmNlbnRhZ2VDb21wbGV0ZVNoYXBlT3BhY2l0eSI6MzUsIlNoYXBlU3R5bGUiOnsiJGlkIjoiNDc2IiwiTWFyZ2luIjp7IiRyZWYiOiIxMDYifSwiUGFkZGluZyI6eyIkcmVmIjoiMTA3In0sIkJhY2tncm91bmQiOnsiJGlkIjoiNDc3IiwiQ29sb3IiOnsiJGlkIjoiNDc4IiwiQSI6MjU1LCJSIjoyNTUsIkciOjE5MiwiQiI6MH19LCJJc1Zpc2libGUiOnRydWUsIldpZHRoIjowLjAsIkhlaWdodCI6MTAuMCwiQm9yZGVyU3R5bGUiOnsiJGlkIjoiNDc5IiwiTGluZUNvbG9yIjp7IiRpZCI6IjQ4MCIsIiR0eXBlIjoiTkxSRS5Db21tb24uRG9tLlNvbGlkQ29sb3JCcnVzaCwgTkxSRS5Db21tb24iLCJDb2xvciI6eyIkaWQiOiI0ODEiLCJBIjoyNTUsIlIiOjI1NSwiRyI6MCwiQiI6MH19LCJMaW5lV2VpZ2h0IjowLjAsIkxpbmVUeXBlIjowLCJQYXJlbnRTdHlsZSI6bnVsbH0sIlBhcmVudFN0eWxlIjpudWxsfSwiVGl0bGVTdHlsZSI6eyIkaWQiOiI0ODIiLCJGb250U2V0dGluZ3MiOnsiJGlkIjoiNDgzIiwiRm9udFNpemUiOjgsIkZvbnROYW1lIjoiQ2FsaWJyaSIsIklzQm9sZCI6dHJ1ZSwiSXNJdGFsaWMiOmZhbHNlLCJJc1VuZGVybGluZWQiOmZhbHNlLCJQYXJlbnRTdHlsZSI6bnVsbH0sIkF1dG9TaXplIjowLCJGb3JlZ3JvdW5kIjp7IiRpZCI6IjQ4NCIsIkNvbG9yIjp7IiRpZCI6IjQ4NSIsIkEiOjI1NSwiUiI6MCwiRyI6MCwiQiI6MH19LCJNYXhXaWR0aCI6NzIwLjAsIk1heEhlaWdodCI6IkluZmluaXR5IiwiU21hcnRGb3JlZ3JvdW5kSXNBY3RpdmUiOmZhbHNlLCJIb3Jpem9udGFsQWxpZ25tZW50IjoyLCJWZXJ0aWNhbEFsaWdubWVudCI6MCwiU21hcnRGb3JlZ3JvdW5kIjpudWxsLCJCYWNrZ3JvdW5kRmlsbFR5cGUiOjAsIk1hcmdpbiI6eyIkcmVmIjoiMTE3In0sIlBhZGRpbmciOnsiJHJlZiI6IjExOCJ9LCJCYWNrZ3JvdW5kIjp7IiRpZCI6IjQ4NiIsIkNvbG9yIjp7IiRpZCI6IjQ4NyIsIkEiOjAsIlIiOjI1NSwiRyI6MjU1LCJCIjoyNTV9fSwiSXNWaXNpYmxlIjp0cnVlLCJXaWR0aCI6MC4wLCJIZWlnaHQiOjAuMCwiQm9yZGVyU3R5bGUiOnsiJGlkIjoiNDg4IiwiTGluZUNvbG9yIjpudWxsLCJMaW5lV2VpZ2h0IjowLjAsIkxpbmVUeXBlIjowLCJQYXJlbnRTdHlsZSI6bnVsbH0sIlBhcmVudFN0eWxlIjpudWxsfSwiRGF0ZVN0eWxlIjp7IiRpZCI6IjQ4OSIsIkZvbnRTZXR0aW5ncyI6eyIkaWQiOiI0OTAiLCJGb250U2l6ZSI6MTAsIkZvbnROYW1lIjoiQ2FsaWJyaSIsIklzQm9sZCI6ZmFsc2UsIklzSXRhbGljIjpmYWxzZSwiSXNVbmRlcmxpbmVkIjpmYWxzZSwiUGFyZW50U3R5bGUiOm51bGx9LCJBdXRvU2l6ZSI6MCwiRm9yZWdyb3VuZCI6eyIkaWQiOiI0OTEiLCJDb2xvciI6eyIkaWQiOiI0OTI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xMjQifSwiUGFkZGluZyI6eyIkcmVmIjoiMTI1In0sIkJhY2tncm91bmQiOnsiJGlkIjoiNDkzIiwiQ29sb3IiOnsiJGlkIjoiNDk0IiwiQSI6MCwiUiI6MjU1LCJHIjoyNTUsIkIiOjI1NX19LCJJc1Zpc2libGUiOnRydWUsIldpZHRoIjowLjAsIkhlaWdodCI6MC4wLCJCb3JkZXJTdHlsZSI6eyIkaWQiOiI0OTUiLCJMaW5lQ29sb3IiOm51bGwsIkxpbmVXZWlnaHQiOjAuMCwiTGluZVR5cGUiOjAsIlBhcmVudFN0eWxlIjpudWxsfSwiUGFyZW50U3R5bGUiOm51bGx9LCJEYXRlRm9ybWF0Ijp7IiRpZCI6IjQ5NiIsIkZvcm1hdFN0cmluZyI6Ik1NTSBkIiwiU2VwYXJhdG9yIjoiLyIsIlVzZUludGVybmF0aW9uYWxEYXRlRm9ybWF0IjpmYWxzZSwiRGF0ZUlzVmlzaWJsZSI6dHJ1ZSwiVGltZUlzVmlzaWJsZSI6ZmFsc2UsIkhvdXJEaWdpdHMiOjEsIkFtUG1EZXNpZ25hdG9yIjoyLCJUcmltMDBNaW51dGVzIjpmYWxzZSwiTGFzdEtub3duVmlzaWJpbGl0eVN0YXRlIjpudWxsfSwiV2Vla051bWJlcmluZyI6eyIkaWQiOiI0OTciLCJGb3JtYXQiOjAsIklzVmlzaWJsZSI6ZmFsc2UsIkxhc3RLbm93blZpc2liaWxpdHlTdGF0ZSI6ZmFsc2V9LCJJc1Zpc2libGUiOnRydWUsIlBhcmVudFN0eWxlIjpudWxsfSwiSW5kZXgiOjEwLCJTbWFydER1cmF0aW9uQWN0aXZhdGVkIjpmYWxzZSwiRGF0ZUZvcm1hdCI6eyIkcmVmIjoiNDk2In0sIldlZWtOdW1iZXJpbmciOnsiJGlkIjoiNDk4IiwiRm9ybWF0IjowLCJJc1Zpc2libGUiOmZhbHNlLCJMYXN0S25vd25WaXNpYmlsaXR5U3RhdGUiOmZhbHNlfSwiSWQiOiI3Mjg2NzBiZi0wMTA5LTRlNjYtOGE5My1mNjM2NGU4ZGUxNjkiLCJJbXBvcnRJZCI6bnVsbCwiVGl0bGUiOiJTMzogQWxwaGEgQnVpbGQiLCJOb3RlIjpudWxsLCJIeXBlcmxpbmsiOnsiJGlkIjoiNDk5IiwiQWRkcmVzcyI6bnVsbCwiU3ViQWRkcmVzcyI6bnVsbH0sIklzQ2hhbmdlZCI6ZmFsc2UsIklzTmV3IjpmYWxzZX0sIkluZGV4IjowfV0sIk1pbGVzdG9uZXMiOlt7IiRpZCI6IjUwMCIsIklkIjoiMzJiZjgzYWUtZDY4NS00NjdkLTg5MjAtZGI1MTAwMzcyNDJmIiwiSW5kZXgiOjYsIkdyb3VwSWQiOiI5ZTc5NDgyMC1kMDVjLTQ4NDEtYWZkMS01ZjAyYTQ1YzJkN2EiLCJUaXRsZSI6IlByb2plY3QgUGxhbiBBcHByb3ZlZCIsIkRhdGVUaW1lIjoiMjAyMC0xMC0wNVQyMzo1OTowMFoiLCJQZXJjZW50YWdlQ29tcGxldGUiOm51bGwsIk5vdGUiOm51bGwsIlN0eWxlIjp7IiRpZCI6IjUwMSIsIlRpdGxlUG9zaXRpb24iOiJSaWdodCIsIkRhdGVQb3NpdGlvbiI6IlJpZ2h0IiwiU2hhcGVUeXBlIjoxLCJTaGFwZVNpemUiOjAsIlNoYXBlU3R5bGUiOnsiJGlkIjoiNTAyIiwiTWFyZ2luIjp7IiRyZWYiOiI2MCJ9LCJQYWRkaW5nIjp7IiRyZWYiOiI2MSJ9LCJCYWNrZ3JvdW5kIjp7IiRpZCI6IjUwMyIsIkNvbG9yIjp7IiRpZCI6IjUwNCIsIkEiOjI1NSwiUiI6MTY0LCJHIjoxMjUsIkIiOjB9fSwiSXNWaXNpYmxlIjp0cnVlLCJXaWR0aCI6MTIuMCwiSGVpZ2h0IjoxNC4wLCJCb3JkZXJTdHlsZSI6eyIkaWQiOiI1MDUiLCJMaW5lQ29sb3IiOnsiJHJlZiI6IjY1In0sIkxpbmVXZWlnaHQiOjAuMCwiTGluZVR5cGUiOjAsIlBhcmVudFN0eWxlIjpudWxsfSwiUGFyZW50U3R5bGUiOm51bGx9LCJUaXRsZVN0eWxlIjp7IiRpZCI6IjUwNiIsIkZvbnRTZXR0aW5ncyI6eyIkaWQiOiI1MDciLCJGb250U2l6ZSI6OCwiRm9udE5hbWUiOiJDYWxpYnJpIiwiSXNCb2xkIjpmYWxzZSwiSXNJdGFsaWMiOmZhbHNlLCJJc1VuZGVybGluZWQiOmZhbHNlLCJQYXJlbnRTdHlsZSI6bnVsbH0sIkF1dG9TaXplIjowLCJGb3JlZ3JvdW5kIjp7IiRpZCI6IjUwOCIsIkNvbG9yIjp7IiRpZCI6IjUwOSIsIkEiOjI1NSwiUiI6MCwiRyI6MCwiQiI6MH19LCJNYXhXaWR0aCI6MjAwLjAsIk1heEhlaWdodCI6IkluZmluaXR5IiwiU21hcnRGb3JlZ3JvdW5kSXNBY3RpdmUiOmZhbHNlLCJIb3Jpem9udGFsQWxpZ25tZW50IjowLCJWZXJ0aWNhbEFsaWdubWVudCI6MCwiU21hcnRGb3JlZ3JvdW5kIjpudWxsLCJCYWNrZ3JvdW5kRmlsbFR5cGUiOjAsIk1hcmdpbiI6eyIkcmVmIjoiNzEifSwiUGFkZGluZyI6eyIkcmVmIjoiNzIifSwiQmFja2dyb3VuZCI6eyIkaWQiOiI1MTAiLCJDb2xvciI6eyIkaWQiOiI1MTEiLCJBIjowLCJSIjoyNTUsIkciOjI1NSwiQiI6MjU1fX0sIklzVmlzaWJsZSI6dHJ1ZSwiV2lkdGgiOjAuMCwiSGVpZ2h0IjowLjAsIkJvcmRlclN0eWxlIjpudWxsLCJQYXJlbnRTdHlsZSI6bnVsbH0sIkRhdGVTdHlsZSI6eyIkaWQiOiI1MTIiLCJGb250U2V0dGluZ3MiOnsiJGlkIjoiNTEzIiwiRm9udFNpemUiOjgsIkZvbnROYW1lIjoiQ2FsaWJyaSIsIklzQm9sZCI6ZmFsc2UsIklzSXRhbGljIjpmYWxzZSwiSXNVbmRlcmxpbmVkIjpmYWxzZSwiUGFyZW50U3R5bGUiOm51bGx9LCJBdXRvU2l6ZSI6MCwiRm9yZWdyb3VuZCI6eyIkaWQiOiI1MTQiLCJDb2xvciI6eyIkaWQiOiI1MTU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3OCJ9LCJQYWRkaW5nIjp7IiRyZWYiOiI3OSJ9LCJCYWNrZ3JvdW5kIjp7IiRpZCI6IjUxNiIsIkNvbG9yIjp7IiRpZCI6IjUxNyIsIkEiOjAsIlIiOjI1NSwiRyI6MjU1LCJCIjoyNTV9fSwiSXNWaXNpYmxlIjp0cnVlLCJXaWR0aCI6MC4wLCJIZWlnaHQiOjAuMCwiQm9yZGVyU3R5bGUiOm51bGwsIlBhcmVudFN0eWxlIjpudWxsfSwiRGF0ZUZvcm1hdCI6eyIkaWQiOiI1MTgiLCJGb3JtYXRTdHJpbmciOiJNTU1NIGQsIHl5eXkiLCJTZXBhcmF0b3IiOiIvIiwiVXNlSW50ZXJuYXRpb25hbERhdGVGb3JtYXQiOmZhbHNlLCJEYXRlSXNWaXNpYmxlIjp0cnVlLCJUaW1lSXNWaXNpYmxlIjpmYWxzZSwiSG91ckRpZ2l0cyI6MSwiQW1QbURlc2lnbmF0b3IiOjIsIlRyaW0wME1pbnV0ZXMiOmZhbHNlLCJMYXN0S25vd25WaXNpYmlsaXR5U3RhdGUiOnsiJGlkIjoiNTE5IiwiRGF0ZVBhcnRJc1Zpc2libGUiOnRydWUsIlRpbWVQYXJ0SXNWaXNpYmxlIjpmYWxzZX19LCJXZWVrTnVtYmVyaW5nIjp7IiRpZCI6IjUyMCIsIkZvcm1hdCI6MCwiSXNWaXNpYmxlIjpmYWxzZSwiTGFzdEtub3duVmlzaWJpbGl0eVN0YXRlIjpmYWxzZX0sIklzVmlzaWJsZSI6dHJ1ZSwiUGFyZW50U3R5bGUiOm51bGx9LCJIeXBlcmxpbmsiOm51bGwsIkltcG9ydElkIjpudWxsfSx7IiRpZCI6IjUyMSIsIklkIjoiOTZjOTU1NmEtNzE0OS00NTlhLWIxYWEtNTgzMGVlMjllNTA4IiwiSW5kZXgiOjgsIkdyb3VwSWQiOiI1MDBmMjdlYy1kZDkxLTQzMTMtOTJjYy01NmNhYjg2NzBlYjgiLCJUaXRsZSI6IkRlc2lnbiBBcHByb3ZlZCIsIkRhdGVUaW1lIjoiMjAyMC0xMC0xOFQyMzo1OTowMCIsIlBlcmNlbnRhZ2VDb21wbGV0ZSI6bnVsbCwiTm90ZSI6bnVsbCwiU3R5bGUiOnsiJGlkIjoiNTIyIiwiVGl0bGVQb3NpdGlvbiI6IlJpZ2h0IiwiRGF0ZVBvc2l0aW9uIjoiUmlnaHQiLCJTaGFwZVR5cGUiOjEsIlNoYXBlU2l6ZSI6MCwiU2hhcGVTdHlsZSI6eyIkaWQiOiI1MjMiLCJNYXJnaW4iOnsiJGlkIjoiNTI0IiwiVG9wIjowLCJMZWZ0IjowLCJSaWdodCI6MCwiQm90dG9tIjowfSwiUGFkZGluZyI6eyIkaWQiOiI1MjUiLCJUb3AiOjAsIkxlZnQiOjAsIlJpZ2h0IjowLCJCb3R0b20iOjB9LCJCYWNrZ3JvdW5kIjp7IiRpZCI6IjUyNiIsIkNvbG9yIjp7IiRpZCI6IjUyNyIsIkEiOjI1NSwiUiI6MTY0LCJHIjoxMjUsIkIiOjB9fSwiSXNWaXNpYmxlIjp0cnVlLCJXaWR0aCI6MTIuMCwiSGVpZ2h0IjoxNC4wLCJCb3JkZXJTdHlsZSI6eyIkaWQiOiI1MjgiLCJMaW5lQ29sb3IiOm51bGwsIkxpbmVXZWlnaHQiOjAuMCwiTGluZVR5cGUiOjAsIlBhcmVudFN0eWxlIjpudWxsfSwiUGFyZW50U3R5bGUiOm51bGx9LCJUaXRsZVN0eWxlIjp7IiRpZCI6IjUyOSIsIkZvbnRTZXR0aW5ncyI6eyIkaWQiOiI1MzAiLCJGb250U2l6ZSI6OCwiRm9udE5hbWUiOiJDYWxpYnJpIiwiSXNCb2xkIjpmYWxzZSwiSXNJdGFsaWMiOmZhbHNlLCJJc1VuZGVybGluZWQiOmZhbHNlLCJQYXJlbnRTdHlsZSI6bnVsbH0sIkF1dG9TaXplIjowLCJGb3JlZ3JvdW5kIjp7IiRpZCI6IjUzMSIsIkNvbG9yIjp7IiRpZCI6IjUzMiIsIkEiOjI1NSwiUiI6MCwiRyI6MCwiQiI6MH19LCJNYXhXaWR0aCI6MjAwLjAsIk1heEhlaWdodCI6IkluZmluaXR5IiwiU21hcnRGb3JlZ3JvdW5kSXNBY3RpdmUiOmZhbHNlLCJIb3Jpem9udGFsQWxpZ25tZW50IjowLCJWZXJ0aWNhbEFsaWdubWVudCI6MCwiU21hcnRGb3JlZ3JvdW5kIjpudWxsLCJCYWNrZ3JvdW5kRmlsbFR5cGUiOjAsIk1hcmdpbiI6eyIkaWQiOiI1MzMiLCJUb3AiOjAsIkxlZnQiOjAsIlJpZ2h0IjowLCJCb3R0b20iOjB9LCJQYWRkaW5nIjp7IiRpZCI6IjUzNCIsIlRvcCI6MCwiTGVmdCI6MCwiUmlnaHQiOjAsIkJvdHRvbSI6MH0sIkJhY2tncm91bmQiOnsiJGlkIjoiNTM1IiwiQ29sb3IiOnsiJGlkIjoiNTM2IiwiQSI6MCwiUiI6MjU1LCJHIjoyNTUsIkIiOjI1NX19LCJJc1Zpc2libGUiOnRydWUsIldpZHRoIjowLjAsIkhlaWdodCI6MC4wLCJCb3JkZXJTdHlsZSI6bnVsbCwiUGFyZW50U3R5bGUiOm51bGx9LCJEYXRlU3R5bGUiOnsiJGlkIjoiNTM3IiwiRm9udFNldHRpbmdzIjp7IiRpZCI6IjUzOCIsIkZvbnRTaXplIjo4LCJGb250TmFtZSI6IkNhbGlicmkiLCJJc0JvbGQiOmZhbHNlLCJJc0l0YWxpYyI6ZmFsc2UsIklzVW5kZXJsaW5lZCI6ZmFsc2UsIlBhcmVudFN0eWxlIjpudWxsfSwiQXV0b1NpemUiOjAsIkZvcmVncm91bmQiOnsiJGlkIjoiNTM5IiwiQ29sb3IiOnsiJGlkIjoiNTQwIiwiQSI6MjU1LCJSIjo2OCwiRyI6ODQsIkIiOjEwNn19LCJNYXhXaWR0aCI6MjAwLjAsIk1heEhlaWdodCI6IkluZmluaXR5IiwiU21hcnRGb3JlZ3JvdW5kSXNBY3RpdmUiOmZhbHNlLCJIb3Jpem9udGFsQWxpZ25tZW50IjowLCJWZXJ0aWNhbEFsaWdubWVudCI6MCwiU21hcnRGb3JlZ3JvdW5kIjpudWxsLCJCYWNrZ3JvdW5kRmlsbFR5cGUiOjAsIk1hcmdpbiI6eyIkaWQiOiI1NDEiLCJUb3AiOjAsIkxlZnQiOjAsIlJpZ2h0IjowLCJCb3R0b20iOjB9LCJQYWRkaW5nIjp7IiRpZCI6IjU0MiIsIlRvcCI6MCwiTGVmdCI6MCwiUmlnaHQiOjAsIkJvdHRvbSI6MH0sIkJhY2tncm91bmQiOnsiJGlkIjoiNTQzIiwiQ29sb3IiOnsiJGlkIjoiNTQ0IiwiQSI6MCwiUiI6MjU1LCJHIjoyNTUsIkIiOjI1NX19LCJJc1Zpc2libGUiOnRydWUsIldpZHRoIjowLjAsIkhlaWdodCI6MC4wLCJCb3JkZXJTdHlsZSI6bnVsbCwiUGFyZW50U3R5bGUiOm51bGx9LCJEYXRlRm9ybWF0Ijp7IiRpZCI6IjU0NSIsIkZvcm1hdFN0cmluZyI6Ik1NTU0gZCwgeXl5eSIsIlNlcGFyYXRvciI6Ii8iLCJVc2VJbnRlcm5hdGlvbmFsRGF0ZUZvcm1hdCI6ZmFsc2UsIkRhdGVJc1Zpc2libGUiOnRydWUsIlRpbWVJc1Zpc2libGUiOmZhbHNlLCJIb3VyRGlnaXRzIjoxLCJBbVBtRGVzaWduYXRvciI6MiwiVHJpbTAwTWludXRlcyI6ZmFsc2UsIkxhc3RLbm93blZpc2liaWxpdHlTdGF0ZSI6eyIkaWQiOiI1NDYiLCJEYXRlUGFydElzVmlzaWJsZSI6dHJ1ZSwiVGltZVBhcnRJc1Zpc2libGUiOmZhbHNlfX0sIldlZWtOdW1iZXJpbmciOnsiJGlkIjoiNTQ3IiwiRm9ybWF0IjowLCJJc1Zpc2libGUiOmZhbHNlLCJMYXN0S25vd25WaXNpYmlsaXR5U3RhdGUiOmZhbHNlfSwiSXNWaXNpYmxlIjp0cnVlLCJQYXJlbnRTdHlsZSI6bnVsbH0sIkh5cGVybGluayI6bnVsbCwiSW1wb3J0SWQiOm51bGx9XX0seyIkaWQiOiI1NDgiLCJJZCI6Ijg5MTFiY2ViLTY3OTQtNDFhZC1iMzc1LTZhNzk0YjY4MmYzMSIsIkluZGV4IjoxLCJIZWFkZXJUZXh0IjoiVG9vbHMgSW1wbGVtZW50YXRpb24iLCJTdHlsZSI6eyIkaWQiOiI1NDkiLCJIZWFkZXJTdHlsZSI6eyIkaWQiOiI1NTAiLCJUZXh0U3R5bGUiOnsiJGlkIjoiNTUxIiwiRm9udFNldHRpbmdzIjp7IiRpZCI6IjU1MiIsIkZvbnRTaXplIjoxMCwiRm9udE5hbWUiOiJDYWxpYnJpIiwiSXNCb2xkIjp0cnVlLCJJc0l0YWxpYyI6ZmFsc2UsIklzVW5kZXJsaW5lZCI6ZmFsc2UsIlBhcmVudFN0eWxlIjpudWxsfSwiQXV0b1NpemUiOjAsIkZvcmVncm91bmQiOnsiJGlkIjoiNTUzIiwiQ29sb3IiOnsiJGlkIjoiNTU0IiwiQSI6MjU1LCJSIjoyNTUsIkciOjI1NSwiQiI6MjU1fX0sIk1heFdpZHRoIjowLjAsIk1heEhlaWdodCI6MC4wLCJTbWFydEZvcmVncm91bmRJc0FjdGl2ZSI6ZmFsc2UsIkhvcml6b250YWxBbGlnbm1lbnQiOjAsIlZlcnRpY2FsQWxpZ25tZW50IjowLCJTbWFydEZvcmVncm91bmQiOm51bGwsIkJhY2tncm91bmRGaWxsVHlwZSI6MCwiTWFyZ2luIjp7IiRyZWYiOiIzMTQifSwiUGFkZGluZyI6eyIkcmVmIjoiMzE1In0sIkJhY2tncm91bmQiOm51bGwsIklzVmlzaWJsZSI6ZmFsc2UsIldpZHRoIjowLjAsIkhlaWdodCI6MC4wLCJCb3JkZXJTdHlsZSI6bnVsbCwiUGFyZW50U3R5bGUiOm51bGx9LCJSZWN0YW5nbGVTdHlsZSI6eyIkaWQiOiI1NTUiLCJNYXJnaW4iOnsiJHJlZiI6IjMxNyJ9LCJQYWRkaW5nIjp7IiRyZWYiOiIzMTgifSwiQmFja2dyb3VuZCI6eyIkaWQiOiI1NTYiLCJDb2xvciI6eyIkaWQiOiI1NTciLCJBIjoyNTUsIlIiOjY4LCJHIjoxMTQsIkIiOjE5Nn19LCJJc1Zpc2libGUiOmZhbHNlLCJXaWR0aCI6MC4wLCJIZWlnaHQiOjAuMCwiQm9yZGVyU3R5bGUiOnsiJGlkIjoiNTU4IiwiTGluZUNvbG9yIjp7IiRyZWYiOiIxNTEifSwiTGluZVdlaWdodCI6MC4wLCJMaW5lVHlwZSI6MCwiUGFyZW50U3R5bGUiOm51bGx9LCJQYXJlbnRTdHlsZSI6bnVsbH0sIk1hcmdpbiI6eyIkcmVmIjoiMzIyIn0sIlBhZGRpbmciOnsiJHJlZiI6IjMyMyJ9LCJCYWNrZ3JvdW5kIjpudWxsLCJJc1Zpc2libGUiOnRydWUsIldpZHRoIjowLjAsIkhlaWdodCI6MC4wLCJCb3JkZXJTdHlsZSI6bnVsbCwiUGFyZW50U3R5bGUiOm51bGx9LCJCYWNrZ3JvdW5kU3R5bGUiOnsiJGlkIjoiNTU5IiwiTWFyZ2luIjp7IiRyZWYiOiIzMjUifSwiUGFkZGluZyI6eyIkcmVmIjoiMzI2In0sIkJhY2tncm91bmQiOnsiJGlkIjoiNTYwIiwiQ29sb3IiOnsiJGlkIjoiNTYxIiwiQSI6MzgsIlIiOjY4LCJHIjoxMTQsIkIiOjE5Nn19LCJJc1Zpc2libGUiOnRydWUsIldpZHRoIjowLjAsIkhlaWdodCI6MC4wLCJCb3JkZXJTdHlsZSI6eyIkaWQiOiI1NjIiLCJMaW5lQ29sb3IiOnsiJHJlZiI6IjE2MSJ9LCJMaW5lV2VpZ2h0IjowLjAsIkxpbmVUeXBlIjowLCJQYXJlbnRTdHlsZSI6bnVsbH0sIlBhcmVudFN0eWxlIjpudWxsfSwiSXNBYm92ZVRpbWViYW5kIjpmYWxzZSwiTWFyZ2luIjp7IiRyZWYiOiIzMzAifSwiUGFkZGluZyI6eyIkcmVmIjoiMzMxIn0sIklzVmlzaWJsZSI6dHJ1ZSwiV2lkdGgiOjAuMCwiSGVpZ2h0IjowLjAsIkJvcmRlclN0eWxlIjpudWxsLCJQYXJlbnRTdHlsZSI6bnVsbH0sIlRhc2tzIjpbeyIkaWQiOiI1NjMiLCJfYXR0YWNoZWRNaWxlc3RvbmVzIjpbXSwiVGFza0RlZmluaXRpb24iOnsiJGlkIjoiNTY0IiwiR3JvdXBOYW1lIjpudWxsLCJTdGFydERhdGUiOiIyMDIwLTExLTAyVDIzOjU5OjAwWiIsIkVuZERhdGUiOiIyMDIwLTExLTEzVDIzOjU5OjAwWiIsIlBlcmNlbnRhZ2VDb21wbGV0ZSI6bnVsbCwiU3R5bGUiOnsiJGlkIjoiNTY1IiwiU2hhcGUiOjAsIlNoYXBlVGhpY2tuZXNzIjowLCJEdXJhdGlvbkZvcm1hdCI6MCwiSW5jbHVkZU5vbldvcmtpbmdEYXlzSW5EdXJhdGlvbiI6ZmFsc2UsIlBlcmNlbnRhZ2VDb21wbGV0ZVN0eWxlIjp7IiRpZCI6IjU2NiIsIkZvbnRTZXR0aW5ncyI6eyIkaWQiOiI1NjciLCJGb250U2l6ZSI6MTAsIkZvbnROYW1lIjoiQ2FsaWJyaSIsIklzQm9sZCI6ZmFsc2UsIklzSXRhbGljIjpmYWxzZSwiSXNVbmRlcmxpbmVkIjpmYWxzZSwiUGFyZW50U3R5bGUiOm51bGx9LCJBdXRvU2l6ZSI6MCwiRm9yZWdyb3VuZCI6eyIkcmVmIjoiMzM3In0sIk1heFdpZHRoIjoyMDAuMCwiTWF4SGVpZ2h0IjoiSW5maW5pdHkiLCJTbWFydEZvcmVncm91bmRJc0FjdGl2ZSI6ZmFsc2UsIkhvcml6b250YWxBbGlnbm1lbnQiOjAsIlZlcnRpY2FsQWxpZ25tZW50IjowLCJTbWFydEZvcmVncm91bmQiOm51bGwsIkJhY2tncm91bmRGaWxsVHlwZSI6MCwiTWFyZ2luIjp7IiRpZCI6IjU2OCIsIlRvcCI6MCwiTGVmdCI6MCwiUmlnaHQiOjAsIkJvdHRvbSI6MH0sIlBhZGRpbmciOnsiJGlkIjoiNTY5IiwiVG9wIjowLCJMZWZ0IjowLCJSaWdodCI6MCwiQm90dG9tIjowfSwiQmFja2dyb3VuZCI6eyIkcmVmIjoiOTEifSwiSXNWaXNpYmxlIjp0cnVlLCJXaWR0aCI6MC4wLCJIZWlnaHQiOjAuMCwiQm9yZGVyU3R5bGUiOnsiJGlkIjoiNTcwIiwiTGluZUNvbG9yIjpudWxsLCJMaW5lV2VpZ2h0IjowLjAsIkxpbmVUeXBlIjowLCJQYXJlbnRTdHlsZSI6bnVsbH0sIlBhcmVudFN0eWxlIjpudWxsfSwiRHVyYXRpb25TdHlsZSI6eyIkaWQiOiI1NzEiLCJGb250U2V0dGluZ3MiOnsiJGlkIjoiNTcyIiwiRm9udFNpemUiOjEwLCJGb250TmFtZSI6IkNhbGlicmkiLCJJc0JvbGQiOmZhbHNlLCJJc0l0YWxpYyI6ZmFsc2UsIklzVW5kZXJsaW5lZCI6ZmFsc2UsIlBhcmVudFN0eWxlIjpudWxsfSwiQXV0b1NpemUiOjAsIkZvcmVncm91bmQiOnsiJGlkIjoiNTczIiwiQ29sb3IiOnsiJHJlZiI6Ijk1In19LCJNYXhXaWR0aCI6MjAwLjAsIk1heEhlaWdodCI6IkluZmluaXR5IiwiU21hcnRGb3JlZ3JvdW5kSXNBY3RpdmUiOmZhbHNlLCJIb3Jpem9udGFsQWxpZ25tZW50IjowLCJWZXJ0aWNhbEFsaWdubWVudCI6MCwiU21hcnRGb3JlZ3JvdW5kIjpudWxsLCJCYWNrZ3JvdW5kRmlsbFR5cGUiOjAsIk1hcmdpbiI6eyIkaWQiOiI1NzQiLCJUb3AiOjAsIkxlZnQiOjAsIlJpZ2h0IjowLCJCb3R0b20iOjB9LCJQYWRkaW5nIjp7IiRpZCI6IjU3NSIsIlRvcCI6MCwiTGVmdCI6MCwiUmlnaHQiOjAsIkJvdHRvbSI6MH0sIkJhY2tncm91bmQiOnsiJHJlZiI6Ijk4In0sIklzVmlzaWJsZSI6dHJ1ZSwiV2lkdGgiOjAuMCwiSGVpZ2h0IjowLjAsIkJvcmRlclN0eWxlIjp7IiRpZCI6IjU3NiIsIkxpbmVDb2xvciI6bnVsbCwiTGluZVdlaWdodCI6MC4wLCJMaW5lVHlwZSI6MCwiUGFyZW50U3R5bGUiOm51bGx9LCJQYXJlbnRTdHlsZSI6bnVsbH0sIkhvcml6b250YWxDb25uZWN0b3JTdHlsZSI6eyIkaWQiOiI1NzciLCJMaW5lQ29sb3IiOnsiJHJlZiI6IjEwMCJ9LCJMaW5lV2VpZ2h0IjoxLjAsIkxpbmVUeXBlIjowLCJQYXJlbnRTdHlsZSI6bnVsbH0sIlZlcnRpY2FsQ29ubmVjdG9yU3R5bGUiOnsiJGlkIjoiNTc4IiwiTGluZUNvbG9yIjp7IiRyZWYiOiIxMDMifSwiTGluZVdlaWdodCI6MC4wLCJMaW5lVHlwZSI6MCwiUGFyZW50U3R5bGUiOm51bGx9LCJNYXJnaW4iOm51bGwsIlN0YXJ0RGF0ZVBvc2l0aW9uIjo2LCJFbmREYXRlUG9zaXRpb24iOjYsIkRhdGVJc1Zpc2libGUiOmZhbHNlLCJUaXRsZVBvc2l0aW9uIjozLCJEdXJhdGlvblBvc2l0aW9uIjo2LCJQZXJjZW50YWdlQ29tcGxldGVkUG9zaXRpb24iOjYsIlNwYWNpbmciOjMsIklzQmVsb3dUaW1lYmFuZCI6dHJ1ZSwiUGVyY2VudGFnZUNvbXBsZXRlU2hhcGVPcGFjaXR5IjozNSwiU2hhcGVTdHlsZSI6eyIkaWQiOiI1NzkiLCJNYXJnaW4iOnsiJGlkIjoiNTgwIiwiVG9wIjowLCJMZWZ0Ijo0LCJSaWdodCI6NCwiQm90dG9tIjowfSwiUGFkZGluZyI6eyIkaWQiOiI1ODEiLCJUb3AiOjAsIkxlZnQiOjAsIlJpZ2h0IjowLCJCb3R0b20iOjB9LCJCYWNrZ3JvdW5kIjp7IiRpZCI6IjU4MiIsIkNvbG9yIjp7IiRpZCI6IjU4MyIsIkEiOjI1NSwiUiI6NjgsIkciOjExNCwiQiI6MTk2fX0sIklzVmlzaWJsZSI6dHJ1ZSwiV2lkdGgiOjAuMCwiSGVpZ2h0IjoxMC4wLCJCb3JkZXJTdHlsZSI6eyIkaWQiOiI1ODQiLCJMaW5lQ29sb3IiOnsiJHJlZiI6IjM1NiJ9LCJMaW5lV2VpZ2h0IjowLjAsIkxpbmVUeXBlIjowLCJQYXJlbnRTdHlsZSI6bnVsbH0sIlBhcmVudFN0eWxlIjpudWxsfSwiVGl0bGVTdHlsZSI6eyIkaWQiOiI1ODUiLCJGb250U2V0dGluZ3MiOnsiJGlkIjoiNTg2IiwiRm9udFNpemUiOjgsIkZvbnROYW1lIjoiQ2FsaWJyaSIsIklzQm9sZCI6dHJ1ZSwiSXNJdGFsaWMiOmZhbHNlLCJJc1VuZGVybGluZWQiOmZhbHNlLCJQYXJlbnRTdHlsZSI6bnVsbH0sIkF1dG9TaXplIjowLCJGb3JlZ3JvdW5kIjp7IiRpZCI6IjU4NyIsIkNvbG9yIjp7IiRpZCI6IjU4OCIsIkEiOjI1NSwiUiI6MCwiRyI6MCwiQiI6MH19LCJNYXhXaWR0aCI6NzIwLjAsIk1heEhlaWdodCI6IkluZmluaXR5IiwiU21hcnRGb3JlZ3JvdW5kSXNBY3RpdmUiOmZhbHNlLCJIb3Jpem9udGFsQWxpZ25tZW50IjoyLCJWZXJ0aWNhbEFsaWdubWVudCI6MCwiU21hcnRGb3JlZ3JvdW5kIjpudWxsLCJCYWNrZ3JvdW5kRmlsbFR5cGUiOjAsIk1hcmdpbiI6eyIkaWQiOiI1ODkiLCJUb3AiOjAsIkxlZnQiOjAsIlJpZ2h0IjowLCJCb3R0b20iOjB9LCJQYWRkaW5nIjp7IiRpZCI6IjU5MCIsIlRvcCI6MCwiTGVmdCI6MCwiUmlnaHQiOjAsIkJvdHRvbSI6MH0sIkJhY2tncm91bmQiOnsiJGlkIjoiNTkxIiwiQ29sb3IiOnsiJGlkIjoiNTkyIiwiQSI6MCwiUiI6MjU1LCJHIjoyNTUsIkIiOjI1NX19LCJJc1Zpc2libGUiOnRydWUsIldpZHRoIjowLjAsIkhlaWdodCI6MC4wLCJCb3JkZXJTdHlsZSI6eyIkaWQiOiI1OTMiLCJMaW5lQ29sb3IiOm51bGwsIkxpbmVXZWlnaHQiOjAuMCwiTGluZVR5cGUiOjAsIlBhcmVudFN0eWxlIjpudWxsfSwiUGFyZW50U3R5bGUiOm51bGx9LCJEYXRlU3R5bGUiOnsiJGlkIjoiNTk0IiwiRm9udFNldHRpbmdzIjp7IiRpZCI6IjU5NSIsIkZvbnRTaXplIjoxMCwiRm9udE5hbWUiOiJDYWxpYnJpIiwiSXNCb2xkIjpmYWxzZSwiSXNJdGFsaWMiOmZhbHNlLCJJc1VuZGVybGluZWQiOmZhbHNlLCJQYXJlbnRTdHlsZSI6bnVsbH0sIkF1dG9TaXplIjowLCJGb3JlZ3JvdW5kIjp7IiRpZCI6IjU5NiIsIkNvbG9yIjp7IiRpZCI6IjU5NyIsIkEiOjI1NSwiUiI6NjgsIkciOjg0LCJCIjoxMDZ9fSwiTWF4V2lkdGgiOjIwMC4wLCJNYXhIZWlnaHQiOiJJbmZpbml0eSIsIlNtYXJ0Rm9yZWdyb3VuZElzQWN0aXZlIjpmYWxzZSwiSG9yaXpvbnRhbEFsaWdubWVudCI6MCwiVmVydGljYWxBbGlnbm1lbnQiOjAsIlNtYXJ0Rm9yZWdyb3VuZCI6bnVsbCwiQmFja2dyb3VuZEZpbGxUeXBlIjowLCJNYXJnaW4iOnsiJGlkIjoiNTk4IiwiVG9wIjowLCJMZWZ0IjowLCJSaWdodCI6MCwiQm90dG9tIjowfSwiUGFkZGluZyI6eyIkaWQiOiI1OTkiLCJUb3AiOjAsIkxlZnQiOjAsIlJpZ2h0IjowLCJCb3R0b20iOjB9LCJCYWNrZ3JvdW5kIjp7IiRyZWYiOiIxMjYifSwiSXNWaXNpYmxlIjp0cnVlLCJXaWR0aCI6MC4wLCJIZWlnaHQiOjAuMCwiQm9yZGVyU3R5bGUiOnsiJGlkIjoiNjAwIiwiTGluZUNvbG9yIjpudWxsLCJMaW5lV2VpZ2h0IjowLjAsIkxpbmVUeXBlIjowLCJQYXJlbnRTdHlsZSI6bnVsbH0sIlBhcmVudFN0eWxlIjpudWxsfSwiRGF0ZUZvcm1hdCI6eyIkaWQiOiI2MDEiLCJGb3JtYXRTdHJpbmciOiJNTU0gZCIsIlNlcGFyYXRvciI6Ii8iLCJVc2VJbnRlcm5hdGlvbmFsRGF0ZUZvcm1hdCI6ZmFsc2UsIkRhdGVJc1Zpc2libGUiOnRydWUsIlRpbWVJc1Zpc2libGUiOmZhbHNlLCJIb3VyRGlnaXRzIjoxLCJBbVBtRGVzaWduYXRvciI6MiwiVHJpbTAwTWludXRlcyI6ZmFsc2UsIkxhc3RLbm93blZpc2liaWxpdHlTdGF0ZSI6bnVsbH0sIldlZWtOdW1iZXJpbmciOnsiJGlkIjoiNjAyIiwiRm9ybWF0IjowLCJJc1Zpc2libGUiOmZhbHNlLCJMYXN0S25vd25WaXNpYmlsaXR5U3RhdGUiOmZhbHNlfSwiSXNWaXNpYmxlIjp0cnVlLCJQYXJlbnRTdHlsZSI6bnVsbH0sIkluZGV4IjoxMSwiU21hcnREdXJhdGlvbkFjdGl2YXRlZCI6ZmFsc2UsIkRhdGVGb3JtYXQiOnsiJHJlZiI6IjYwMSJ9LCJXZWVrTnVtYmVyaW5nIjp7IiRpZCI6IjYwMyIsIkZvcm1hdCI6MCwiSXNWaXNpYmxlIjpmYWxzZSwiTGFzdEtub3duVmlzaWJpbGl0eVN0YXRlIjpmYWxzZX0sIklkIjoiNDdjYmU4OWMtZGY1NS00MTk5LTlhZTAtZDNhYzUyNjE5NGY2IiwiSW1wb3J0SWQiOm51bGwsIlRpdGxlIjoiUzQ6IE5vbi1Qcm9kIEJ1aWxkIiwiTm90ZSI6bnVsbCwiSHlwZXJsaW5rIjp7IiRpZCI6IjYwNCIsIkFkZHJlc3MiOm51bGwsIlN1YkFkZHJlc3MiOm51bGx9LCJJc0NoYW5nZWQiOmZhbHNlLCJJc05ldyI6ZmFsc2V9LCJJbmRleCI6MH0seyIkaWQiOiI2MDUiLCJfYXR0YWNoZWRNaWxlc3RvbmVzIjpbXSwiVGFza0RlZmluaXRpb24iOnsiJGlkIjoiNjA2IiwiR3JvdXBOYW1lIjoiMWZiNjU1NDYtNjQxMi00MWM4LWJmYjQtZjk1ZjBmM2M3OWI3IiwiU3RhcnREYXRlIjoiMjAyMC0xMS0xNlQyMzo1OTowMFoiLCJFbmREYXRlIjoiMjAyMC0xMS0yN1QyMzo1OTowMFoiLCJQZXJjZW50YWdlQ29tcGxldGUiOm51bGwsIlN0eWxlIjp7IiRpZCI6IjYwNyIsIlNoYXBlIjowLCJTaGFwZVRoaWNrbmVzcyI6MCwiRHVyYXRpb25Gb3JtYXQiOjAsIkluY2x1ZGVOb25Xb3JraW5nRGF5c0luRHVyYXRpb24iOmZhbHNlLCJQZXJjZW50YWdlQ29tcGxldGVTdHlsZSI6eyIkaWQiOiI2MDgiLCJGb250U2V0dGluZ3MiOnsiJGlkIjoiNjA5IiwiRm9udFNpemUiOjEwLCJGb250TmFtZSI6IkNhbGlicmkiLCJJc0JvbGQiOmZhbHNlLCJJc0l0YWxpYyI6ZmFsc2UsIklzVW5kZXJsaW5lZCI6ZmFsc2UsIlBhcmVudFN0eWxlIjpudWxsfSwiQXV0b1NpemUiOjAsIkZvcmVncm91bmQiOnsiJHJlZiI6IjMzNyJ9LCJNYXhXaWR0aCI6MjAwLjAsIk1heEhlaWdodCI6IkluZmluaXR5IiwiU21hcnRGb3JlZ3JvdW5kSXNBY3RpdmUiOmZhbHNlLCJIb3Jpem9udGFsQWxpZ25tZW50IjowLCJWZXJ0aWNhbEFsaWdubWVudCI6MCwiU21hcnRGb3JlZ3JvdW5kIjpudWxsLCJCYWNrZ3JvdW5kRmlsbFR5cGUiOjAsIk1hcmdpbiI6eyIkaWQiOiI2MTAiLCJUb3AiOjAsIkxlZnQiOjAsIlJpZ2h0IjowLCJCb3R0b20iOjB9LCJQYWRkaW5nIjp7IiRpZCI6IjYxMSIsIlRvcCI6MCwiTGVmdCI6MCwiUmlnaHQiOjAsIkJvdHRvbSI6MH0sIkJhY2tncm91bmQiOnsiJHJlZiI6IjkxIn0sIklzVmlzaWJsZSI6dHJ1ZSwiV2lkdGgiOjAuMCwiSGVpZ2h0IjowLjAsIkJvcmRlclN0eWxlIjp7IiRpZCI6IjYxMiIsIkxpbmVDb2xvciI6bnVsbCwiTGluZVdlaWdodCI6MC4wLCJMaW5lVHlwZSI6MCwiUGFyZW50U3R5bGUiOm51bGx9LCJQYXJlbnRTdHlsZSI6bnVsbH0sIkR1cmF0aW9uU3R5bGUiOnsiJGlkIjoiNjEzIiwiRm9udFNldHRpbmdzIjp7IiRpZCI6IjYxNCIsIkZvbnRTaXplIjoxMCwiRm9udE5hbWUiOiJDYWxpYnJpIiwiSXNCb2xkIjp0cnVlLCJJc0l0YWxpYyI6ZmFsc2UsIklzVW5kZXJsaW5lZCI6ZmFsc2UsIlBhcmVudFN0eWxlIjpudWxsfSwiQXV0b1NpemUiOjAsIkZvcmVncm91bmQiOnsiJGlkIjoiNjE1IiwiQ29sb3IiOnsiJGlkIjoiNjE2IiwiQSI6MjU1LCJSIjoxMTUsIkciOjExNSwiQiI6MTE1fX0sIk1heFdpZHRoIjoyMDAuMCwiTWF4SGVpZ2h0IjoiSW5maW5pdHkiLCJTbWFydEZvcmVncm91bmRJc0FjdGl2ZSI6ZmFsc2UsIkhvcml6b250YWxBbGlnbm1lbnQiOjAsIlZlcnRpY2FsQWxpZ25tZW50IjowLCJTbWFydEZvcmVncm91bmQiOm51bGwsIkJhY2tncm91bmRGaWxsVHlwZSI6MCwiTWFyZ2luIjp7IiRpZCI6IjYxNyIsIlRvcCI6MCwiTGVmdCI6MCwiUmlnaHQiOjAsIkJvdHRvbSI6MH0sIlBhZGRpbmciOnsiJGlkIjoiNjE4IiwiVG9wIjowLCJMZWZ0IjowLCJSaWdodCI6MCwiQm90dG9tIjowfSwiQmFja2dyb3VuZCI6eyIkaWQiOiI2MTkiLCJDb2xvciI6eyIkaWQiOiI2MjAiLCJBIjowLCJSIjoyNTUsIkciOjI1NSwiQiI6MjU1fX0sIklzVmlzaWJsZSI6dHJ1ZSwiV2lkdGgiOjAuMCwiSGVpZ2h0IjowLjAsIkJvcmRlclN0eWxlIjp7IiRpZCI6IjYyMSIsIkxpbmVDb2xvciI6bnVsbCwiTGluZVdlaWdodCI6MC4wLCJMaW5lVHlwZSI6MCwiUGFyZW50U3R5bGUiOm51bGx9LCJQYXJlbnRTdHlsZSI6bnVsbH0sIkhvcml6b250YWxDb25uZWN0b3JTdHlsZSI6eyIkaWQiOiI2MjIiLCJMaW5lQ29sb3IiOnsiJHJlZiI6IjEwMCJ9LCJMaW5lV2VpZ2h0IjoxLjAsIkxpbmVUeXBlIjowLCJQYXJlbnRTdHlsZSI6bnVsbH0sIlZlcnRpY2FsQ29ubmVjdG9yU3R5bGUiOnsiJGlkIjoiNjIzIiwiTGluZUNvbG9yIjp7IiRyZWYiOiIxMDMifSwiTGluZVdlaWdodCI6MC4wLCJMaW5lVHlwZSI6MCwiUGFyZW50U3R5bGUiOm51bGx9LCJNYXJnaW4iOm51bGwsIlN0YXJ0RGF0ZVBvc2l0aW9uIjo2LCJFbmREYXRlUG9zaXRpb24iOjYsIkRhdGVJc1Zpc2libGUiOmZhbHNlLCJUaXRsZVBvc2l0aW9uIjozLCJEdXJhdGlvblBvc2l0aW9uIjo2LCJQZXJjZW50YWdlQ29tcGxldGVkUG9zaXRpb24iOjYsIlNwYWNpbmciOjMsIklzQmVsb3dUaW1lYmFuZCI6dHJ1ZSwiUGVyY2VudGFnZUNvbXBsZXRlU2hhcGVPcGFjaXR5IjozNSwiU2hhcGVTdHlsZSI6eyIkaWQiOiI2MjQiLCJNYXJnaW4iOnsiJGlkIjoiNjI1IiwiVG9wIjowLCJMZWZ0Ijo0LCJSaWdodCI6NCwiQm90dG9tIjowfSwiUGFkZGluZyI6eyIkaWQiOiI2MjYiLCJUb3AiOjAsIkxlZnQiOjAsIlJpZ2h0IjowLCJCb3R0b20iOjB9LCJCYWNrZ3JvdW5kIjp7IiRpZCI6IjYyNyIsIkNvbG9yIjp7IiRpZCI6IjYyOCIsIkEiOjI1NSwiUiI6NjgsIkciOjExNCwiQiI6MTk2fX0sIklzVmlzaWJsZSI6dHJ1ZSwiV2lkdGgiOjAuMCwiSGVpZ2h0IjoxMC4wLCJCb3JkZXJTdHlsZSI6eyIkaWQiOiI2MjkiLCJMaW5lQ29sb3IiOnsiJHJlZiI6IjM1NiJ9LCJMaW5lV2VpZ2h0IjowLjAsIkxpbmVUeXBlIjowLCJQYXJlbnRTdHlsZSI6bnVsbH0sIlBhcmVudFN0eWxlIjpudWxsfSwiVGl0bGVTdHlsZSI6eyIkaWQiOiI2MzAiLCJGb250U2V0dGluZ3MiOnsiJGlkIjoiNjMxIiwiRm9udFNpemUiOjgsIkZvbnROYW1lIjoiQ2FsaWJyaSIsIklzQm9sZCI6dHJ1ZSwiSXNJdGFsaWMiOmZhbHNlLCJJc1VuZGVybGluZWQiOmZhbHNlLCJQYXJlbnRTdHlsZSI6bnVsbH0sIkF1dG9TaXplIjowLCJGb3JlZ3JvdW5kIjp7IiRpZCI6IjYzMiIsIkNvbG9yIjp7IiRpZCI6IjYzMyIsIkEiOjI1NSwiUiI6MCwiRyI6MCwiQiI6MH19LCJNYXhXaWR0aCI6NzIwLjAsIk1heEhlaWdodCI6IkluZmluaXR5IiwiU21hcnRGb3JlZ3JvdW5kSXNBY3RpdmUiOmZhbHNlLCJIb3Jpem9udGFsQWxpZ25tZW50IjoyLCJWZXJ0aWNhbEFsaWdubWVudCI6MCwiU21hcnRGb3JlZ3JvdW5kIjpudWxsLCJCYWNrZ3JvdW5kRmlsbFR5cGUiOjAsIk1hcmdpbiI6eyIkaWQiOiI2MzQiLCJUb3AiOjAsIkxlZnQiOjAsIlJpZ2h0IjowLCJCb3R0b20iOjB9LCJQYWRkaW5nIjp7IiRpZCI6IjYzNSIsIlRvcCI6MCwiTGVmdCI6MCwiUmlnaHQiOjAsIkJvdHRvbSI6MH0sIkJhY2tncm91bmQiOnsiJGlkIjoiNjM2IiwiQ29sb3IiOnsiJGlkIjoiNjM3IiwiQSI6MCwiUiI6MjU1LCJHIjoyNTUsIkIiOjI1NX19LCJJc1Zpc2libGUiOnRydWUsIldpZHRoIjowLjAsIkhlaWdodCI6MC4wLCJCb3JkZXJTdHlsZSI6eyIkaWQiOiI2MzgiLCJMaW5lQ29sb3IiOm51bGwsIkxpbmVXZWlnaHQiOjAuMCwiTGluZVR5cGUiOjAsIlBhcmVudFN0eWxlIjpudWxsfSwiUGFyZW50U3R5bGUiOm51bGx9LCJEYXRlU3R5bGUiOnsiJGlkIjoiNjM5IiwiRm9udFNldHRpbmdzIjp7IiRpZCI6IjY0MCIsIkZvbnRTaXplIjoxMCwiRm9udE5hbWUiOiJDYWxpYnJpIiwiSXNCb2xkIjpmYWxzZSwiSXNJdGFsaWMiOmZhbHNlLCJJc1VuZGVybGluZWQiOmZhbHNlLCJQYXJlbnRTdHlsZSI6bnVsbH0sIkF1dG9TaXplIjowLCJGb3JlZ3JvdW5kIjp7IiRpZCI6IjY0MSIsIkNvbG9yIjp7IiRpZCI6IjY0MiIsIkEiOjI1NSwiUiI6NjgsIkciOjg0LCJCIjoxMDZ9fSwiTWF4V2lkdGgiOjIwMC4wLCJNYXhIZWlnaHQiOiJJbmZpbml0eSIsIlNtYXJ0Rm9yZWdyb3VuZElzQWN0aXZlIjpmYWxzZSwiSG9yaXpvbnRhbEFsaWdubWVudCI6MCwiVmVydGljYWxBbGlnbm1lbnQiOjAsIlNtYXJ0Rm9yZWdyb3VuZCI6bnVsbCwiQmFja2dyb3VuZEZpbGxUeXBlIjowLCJNYXJnaW4iOnsiJGlkIjoiNjQzIiwiVG9wIjowLCJMZWZ0IjowLCJSaWdodCI6MCwiQm90dG9tIjowfSwiUGFkZGluZyI6eyIkaWQiOiI2NDQiLCJUb3AiOjAsIkxlZnQiOjAsIlJpZ2h0IjowLCJCb3R0b20iOjB9LCJCYWNrZ3JvdW5kIjp7IiRpZCI6IjY0NSIsIkNvbG9yIjp7IiRpZCI6IjY0NiIsIkEiOjAsIlIiOjI1NSwiRyI6MjU1LCJCIjoyNTV9fSwiSXNWaXNpYmxlIjp0cnVlLCJXaWR0aCI6MC4wLCJIZWlnaHQiOjAuMCwiQm9yZGVyU3R5bGUiOnsiJGlkIjoiNjQ3IiwiTGluZUNvbG9yIjpudWxsLCJMaW5lV2VpZ2h0IjowLjAsIkxpbmVUeXBlIjowLCJQYXJlbnRTdHlsZSI6bnVsbH0sIlBhcmVudFN0eWxlIjpudWxsfSwiRGF0ZUZvcm1hdCI6eyIkaWQiOiI2NDgiLCJGb3JtYXRTdHJpbmciOiJNTU0gZCIsIlNlcGFyYXRvciI6Ii8iLCJVc2VJbnRlcm5hdGlvbmFsRGF0ZUZvcm1hdCI6ZmFsc2UsIkRhdGVJc1Zpc2libGUiOnRydWUsIlRpbWVJc1Zpc2libGUiOmZhbHNlLCJIb3VyRGlnaXRzIjoxLCJBbVBtRGVzaWduYXRvciI6MiwiVHJpbTAwTWludXRlcyI6ZmFsc2UsIkxhc3RLbm93blZpc2liaWxpdHlTdGF0ZSI6bnVsbH0sIldlZWtOdW1iZXJpbmciOnsiJGlkIjoiNjQ5IiwiRm9ybWF0IjowLCJJc1Zpc2libGUiOmZhbHNlLCJMYXN0S25vd25WaXNpYmlsaXR5U3RhdGUiOmZhbHNlfSwiSXNWaXNpYmxlIjp0cnVlLCJQYXJlbnRTdHlsZSI6bnVsbH0sIkluZGV4IjoxMywiU21hcnREdXJhdGlvbkFjdGl2YXRlZCI6ZmFsc2UsIkRhdGVGb3JtYXQiOnsiJHJlZiI6IjY0OCJ9LCJXZWVrTnVtYmVyaW5nIjp7IiRpZCI6IjY1MCIsIkZvcm1hdCI6MCwiSXNWaXNpYmxlIjpmYWxzZSwiTGFzdEtub3duVmlzaWJpbGl0eVN0YXRlIjpmYWxzZX0sIklkIjoiNTQ2ZGMzMzItM2Q3NC00NjRhLThlZjYtYTRlNmU1M2YzNmVhIiwiSW1wb3J0SWQiOm51bGwsIlRpdGxlIjoiUzU6IE5vbi1Qcm9kIFRlc3QiLCJOb3RlIjpudWxsLCJIeXBlcmxpbmsiOnsiJGlkIjoiNjUxIiwiQWRkcmVzcyI6bnVsbCwiU3ViQWRkcmVzcyI6bnVsbH0sIklzQ2hhbmdlZCI6ZmFsc2UsIklzTmV3IjpmYWxzZX0sIkluZGV4IjowfSx7IiRpZCI6IjY1MiIsIl9hdHRhY2hlZE1pbGVzdG9uZXMiOltdLCJUYXNrRGVmaW5pdGlvbiI6eyIkaWQiOiI2NTMiLCJHcm91cE5hbWUiOiIyYzlhODI0Ni1hZGMwLTQwOWYtOTZiNi03ZDE1Mjg1NTgwNTIiLCJTdGFydERhdGUiOiIyMDIwLTEyLTE0VDIzOjU5OjAwWiIsIkVuZERhdGUiOiIyMDIxLTAxLTAxVDIzOjU5OjAwWiIsIlBlcmNlbnRhZ2VDb21wbGV0ZSI6bnVsbCwiU3R5bGUiOnsiJGlkIjoiNjU0IiwiU2hhcGUiOjAsIlNoYXBlVGhpY2tuZXNzIjowLCJEdXJhdGlvbkZvcm1hdCI6MCwiSW5jbHVkZU5vbldvcmtpbmdEYXlzSW5EdXJhdGlvbiI6ZmFsc2UsIlBlcmNlbnRhZ2VDb21wbGV0ZVN0eWxlIjp7IiRpZCI6IjY1NSIsIkZvbnRTZXR0aW5ncyI6eyIkaWQiOiI2NTYiLCJGb250U2l6ZSI6MTAsIkZvbnROYW1lIjoiQ2FsaWJyaSIsIklzQm9sZCI6ZmFsc2UsIklzSXRhbGljIjpmYWxzZSwiSXNVbmRlcmxpbmVkIjpmYWxzZSwiUGFyZW50U3R5bGUiOm51bGx9LCJBdXRvU2l6ZSI6MCwiRm9yZWdyb3VuZCI6eyIkcmVmIjoiODcifSwiTWF4V2lkdGgiOjIwMC4wLCJNYXhIZWlnaHQiOiJJbmZpbml0eSIsIlNtYXJ0Rm9yZWdyb3VuZElzQWN0aXZlIjpmYWxzZSwiSG9yaXpvbnRhbEFsaWdubWVudCI6MCwiVmVydGljYWxBbGlnbm1lbnQiOjAsIlNtYXJ0Rm9yZWdyb3VuZCI6bnVsbCwiQmFja2dyb3VuZEZpbGxUeXBlIjowLCJNYXJnaW4iOnsiJHJlZiI6Ijg5In0sIlBhZGRpbmciOnsiJHJlZiI6IjkwIn0sIkJhY2tncm91bmQiOnsiJHJlZiI6IjkxIn0sIklzVmlzaWJsZSI6dHJ1ZSwiV2lkdGgiOjAuMCwiSGVpZ2h0IjowLjAsIkJvcmRlclN0eWxlIjp7IiRpZCI6IjY1NyIsIkxpbmVDb2xvciI6bnVsbCwiTGluZVdlaWdodCI6MC4wLCJMaW5lVHlwZSI6MCwiUGFyZW50U3R5bGUiOm51bGx9LCJQYXJlbnRTdHlsZSI6bnVsbH0sIkR1cmF0aW9uU3R5bGUiOnsiJGlkIjoiNjU4IiwiRm9udFNldHRpbmdzIjp7IiRpZCI6IjY1OSIsIkZvbnRTaXplIjoxMCwiRm9udE5hbWUiOiJDYWxpYnJpIiwiSXNCb2xkIjpmYWxzZSwiSXNJdGFsaWMiOmZhbHNlLCJJc1VuZGVybGluZWQiOmZhbHNlLCJQYXJlbnRTdHlsZSI6bnVsbH0sIkF1dG9TaXplIjowLCJGb3JlZ3JvdW5kIjp7IiRyZWYiOiI5NCJ9LCJNYXhXaWR0aCI6MjAwLjAsIk1heEhlaWdodCI6IkluZmluaXR5IiwiU21hcnRGb3JlZ3JvdW5kSXNBY3RpdmUiOmZhbHNlLCJIb3Jpem9udGFsQWxpZ25tZW50IjowLCJWZXJ0aWNhbEFsaWdubWVudCI6MCwiU21hcnRGb3JlZ3JvdW5kIjpudWxsLCJCYWNrZ3JvdW5kRmlsbFR5cGUiOjAsIk1hcmdpbiI6eyIkcmVmIjoiOTYifSwiUGFkZGluZyI6eyIkcmVmIjoiOTcifSwiQmFja2dyb3VuZCI6eyIkcmVmIjoiOTgifSwiSXNWaXNpYmxlIjp0cnVlLCJXaWR0aCI6MC4wLCJIZWlnaHQiOjAuMCwiQm9yZGVyU3R5bGUiOnsiJGlkIjoiNjYwIiwiTGluZUNvbG9yIjpudWxsLCJMaW5lV2VpZ2h0IjowLjAsIkxpbmVUeXBlIjowLCJQYXJlbnRTdHlsZSI6bnVsbH0sIlBhcmVudFN0eWxlIjpudWxsfSwiSG9yaXpvbnRhbENvbm5lY3RvclN0eWxlIjp7IiRpZCI6IjY2MSIsIkxpbmVDb2xvciI6eyIkcmVmIjoiMTAwIn0sIkxpbmVXZWlnaHQiOjEuMCwiTGluZVR5cGUiOjAsIlBhcmVudFN0eWxlIjpudWxsfSwiVmVydGljYWxDb25uZWN0b3JTdHlsZSI6eyIkaWQiOiI2NjIiLCJMaW5lQ29sb3IiOnsiJHJlZiI6IjEwMyJ9LCJMaW5lV2VpZ2h0IjowLjAsIkxpbmVUeXBlIjowLCJQYXJlbnRTdHlsZSI6bnVsbH0sIk1hcmdpbiI6bnVsbCwiU3RhcnREYXRlUG9zaXRpb24iOjYsIkVuZERhdGVQb3NpdGlvbiI6NiwiRGF0ZUlzVmlzaWJsZSI6ZmFsc2UsIlRpdGxlUG9zaXRpb24iOjMsIkR1cmF0aW9uUG9zaXRpb24iOjYsIlBlcmNlbnRhZ2VDb21wbGV0ZWRQb3NpdGlvbiI6NiwiU3BhY2luZyI6MywiSXNCZWxvd1RpbWViYW5kIjp0cnVlLCJQZXJjZW50YWdlQ29tcGxldGVTaGFwZU9wYWNpdHkiOjM1LCJTaGFwZVN0eWxlIjp7IiRpZCI6IjY2MyIsIk1hcmdpbiI6eyIkcmVmIjoiMTA2In0sIlBhZGRpbmciOnsiJHJlZiI6IjEwNyJ9LCJCYWNrZ3JvdW5kIjp7IiRpZCI6IjY2NCIsIkNvbG9yIjp7IiRpZCI6IjY2NSIsIkEiOjI1NSwiUiI6NjgsIkciOjExNCwiQiI6MTk2fX0sIklzVmlzaWJsZSI6dHJ1ZSwiV2lkdGgiOjAuMCwiSGVpZ2h0IjoxMC4wLCJCb3JkZXJTdHlsZSI6eyIkaWQiOiI2NjYiLCJMaW5lQ29sb3IiOnsiJGlkIjoiNjY3IiwiJHR5cGUiOiJOTFJFLkNvbW1vbi5Eb20uU29saWRDb2xvckJydXNoLCBOTFJFLkNvbW1vbiIsIkNvbG9yIjp7IiRpZCI6IjY2OCIsIkEiOjI1NSwiUiI6MjU1LCJHIjowLCJCIjowfX0sIkxpbmVXZWlnaHQiOjAuMCwiTGluZVR5cGUiOjAsIlBhcmVudFN0eWxlIjpudWxsfSwiUGFyZW50U3R5bGUiOm51bGx9LCJUaXRsZVN0eWxlIjp7IiRpZCI6IjY2OSIsIkZvbnRTZXR0aW5ncyI6eyIkaWQiOiI2NzAiLCJGb250U2l6ZSI6OCwiRm9udE5hbWUiOiJDYWxpYnJpIiwiSXNCb2xkIjp0cnVlLCJJc0l0YWxpYyI6ZmFsc2UsIklzVW5kZXJsaW5lZCI6ZmFsc2UsIlBhcmVudFN0eWxlIjpudWxsfSwiQXV0b1NpemUiOjAsIkZvcmVncm91bmQiOnsiJGlkIjoiNjcxIiwiQ29sb3IiOnsiJGlkIjoiNjcyIiwiQSI6MjU1LCJSIjowLCJHIjowLCJCIjowfX0sIk1heFdpZHRoIjo3MjAuMCwiTWF4SGVpZ2h0IjoiSW5maW5pdHkiLCJTbWFydEZvcmVncm91bmRJc0FjdGl2ZSI6ZmFsc2UsIkhvcml6b250YWxBbGlnbm1lbnQiOjIsIlZlcnRpY2FsQWxpZ25tZW50IjowLCJTbWFydEZvcmVncm91bmQiOm51bGwsIkJhY2tncm91bmRGaWxsVHlwZSI6MCwiTWFyZ2luIjp7IiRyZWYiOiIxMTcifSwiUGFkZGluZyI6eyIkcmVmIjoiMTE4In0sIkJhY2tncm91bmQiOnsiJGlkIjoiNjczIiwiQ29sb3IiOnsiJGlkIjoiNjc0IiwiQSI6MCwiUiI6MjU1LCJHIjoyNTUsIkIiOjI1NX19LCJJc1Zpc2libGUiOnRydWUsIldpZHRoIjowLjAsIkhlaWdodCI6MC4wLCJCb3JkZXJTdHlsZSI6eyIkaWQiOiI2NzUiLCJMaW5lQ29sb3IiOm51bGwsIkxpbmVXZWlnaHQiOjAuMCwiTGluZVR5cGUiOjAsIlBhcmVudFN0eWxlIjpudWxsfSwiUGFyZW50U3R5bGUiOm51bGx9LCJEYXRlU3R5bGUiOnsiJGlkIjoiNjc2IiwiRm9udFNldHRpbmdzIjp7IiRpZCI6IjY3NyIsIkZvbnRTaXplIjoxMCwiRm9udE5hbWUiOiJDYWxpYnJpIiwiSXNCb2xkIjpmYWxzZSwiSXNJdGFsaWMiOmZhbHNlLCJJc1VuZGVybGluZWQiOmZhbHNlLCJQYXJlbnRTdHlsZSI6bnVsbH0sIkF1dG9TaXplIjowLCJGb3JlZ3JvdW5kIjp7IiRpZCI6IjY3OCIsIkNvbG9yIjp7IiRpZCI6IjY3OSIsIkEiOjI1NSwiUiI6NjgsIkciOjg0LCJCIjoxMDZ9fSwiTWF4V2lkdGgiOjIwMC4wLCJNYXhIZWlnaHQiOiJJbmZpbml0eSIsIlNtYXJ0Rm9yZWdyb3VuZElzQWN0aXZlIjpmYWxzZSwiSG9yaXpvbnRhbEFsaWdubWVudCI6MCwiVmVydGljYWxBbGlnbm1lbnQiOjAsIlNtYXJ0Rm9yZWdyb3VuZCI6bnVsbCwiQmFja2dyb3VuZEZpbGxUeXBlIjowLCJNYXJnaW4iOnsiJHJlZiI6IjEyNCJ9LCJQYWRkaW5nIjp7IiRyZWYiOiIxMjUifSwiQmFja2dyb3VuZCI6eyIkaWQiOiI2ODAiLCJDb2xvciI6eyIkaWQiOiI2ODEiLCJBIjowLCJSIjoyNTUsIkciOjI1NSwiQiI6MjU1fX0sIklzVmlzaWJsZSI6dHJ1ZSwiV2lkdGgiOjAuMCwiSGVpZ2h0IjowLjAsIkJvcmRlclN0eWxlIjp7IiRpZCI6IjY4MiIsIkxpbmVDb2xvciI6bnVsbCwiTGluZVdlaWdodCI6MC4wLCJMaW5lVHlwZSI6MCwiUGFyZW50U3R5bGUiOm51bGx9LCJQYXJlbnRTdHlsZSI6bnVsbH0sIkRhdGVGb3JtYXQiOnsiJGlkIjoiNjgzIiwiRm9ybWF0U3RyaW5nIjoiTU1NIGQiLCJTZXBhcmF0b3IiOiIvIiwiVXNlSW50ZXJuYXRpb25hbERhdGVGb3JtYXQiOmZhbHNlLCJEYXRlSXNWaXNpYmxlIjp0cnVlLCJUaW1lSXNWaXNpYmxlIjpmYWxzZSwiSG91ckRpZ2l0cyI6MSwiQW1QbURlc2lnbmF0b3IiOjIsIlRyaW0wME1pbnV0ZXMiOmZhbHNlLCJMYXN0S25vd25WaXNpYmlsaXR5U3RhdGUiOm51bGx9LCJXZWVrTnVtYmVyaW5nIjp7IiRpZCI6IjY4NCIsIkZvcm1hdCI6MCwiSXNWaXNpYmxlIjpmYWxzZSwiTGFzdEtub3duVmlzaWJpbGl0eVN0YXRlIjpmYWxzZX0sIklzVmlzaWJsZSI6dHJ1ZSwiUGFyZW50U3R5bGUiOm51bGx9LCJJbmRleCI6MTUsIlNtYXJ0RHVyYXRpb25BY3RpdmF0ZWQiOmZhbHNlLCJEYXRlRm9ybWF0Ijp7IiRyZWYiOiI2ODMifSwiV2Vla051bWJlcmluZyI6eyIkaWQiOiI2ODUiLCJGb3JtYXQiOjAsIklzVmlzaWJsZSI6ZmFsc2UsIkxhc3RLbm93blZpc2liaWxpdHlTdGF0ZSI6ZmFsc2V9LCJJZCI6IjMwNjU1MmYxLTllNDktNDllOS1iYWNhLTI0ZDBiNDU2ZWFjMiIsIkltcG9ydElkIjpudWxsLCJUaXRsZSI6IlM3OiBQcm9kdWN0aW9uIEJ1aWxkIiwiTm90ZSI6bnVsbCwiSHlwZXJsaW5rIjp7IiRpZCI6IjY4NiIsIkFkZHJlc3MiOiIiLCJTdWJBZGRyZXNzIjoiIn0sIklzQ2hhbmdlZCI6ZmFsc2UsIklzTmV3IjpmYWxzZX0sIkluZGV4IjowfSx7IiRpZCI6IjY4NyIsIl9hdHRhY2hlZE1pbGVzdG9uZXMiOltdLCJUYXNrRGVmaW5pdGlvbiI6eyIkaWQiOiI2ODgiLCJHcm91cE5hbWUiOiIzMzQ3YWE2ZC1kYjJmLTRlNWUtYWU4NS0wYWM4YzllZWRmZWQiLCJTdGFydERhdGUiOiIyMDIxLTAxLTA0VDIzOjU5OjAwWiIsIkVuZERhdGUiOiIyMDIxLTAxLTE1VDIzOjU5OjAwWiIsIlBlcmNlbnRhZ2VDb21wbGV0ZSI6bnVsbCwiU3R5bGUiOnsiJGlkIjoiNjg5IiwiU2hhcGUiOjAsIlNoYXBlVGhpY2tuZXNzIjowLCJEdXJhdGlvbkZvcm1hdCI6MCwiSW5jbHVkZU5vbldvcmtpbmdEYXlzSW5EdXJhdGlvbiI6ZmFsc2UsIlBlcmNlbnRhZ2VDb21wbGV0ZVN0eWxlIjp7IiRpZCI6IjY5MCIsIkZvbnRTZXR0aW5ncyI6eyIkaWQiOiI2OTEiLCJGb250U2l6ZSI6MTAsIkZvbnROYW1lIjoiQ2FsaWJyaSIsIklzQm9sZCI6ZmFsc2UsIklzSXRhbGljIjpmYWxzZSwiSXNVbmRlcmxpbmVkIjpmYWxzZSwiUGFyZW50U3R5bGUiOm51bGx9LCJBdXRvU2l6ZSI6MCwiRm9yZWdyb3VuZCI6eyIkcmVmIjoiODcifSwiTWF4V2lkdGgiOjIwMC4wLCJNYXhIZWlnaHQiOiJJbmZpbml0eSIsIlNtYXJ0Rm9yZWdyb3VuZElzQWN0aXZlIjpmYWxzZSwiSG9yaXpvbnRhbEFsaWdubWVudCI6MCwiVmVydGljYWxBbGlnbm1lbnQiOjAsIlNtYXJ0Rm9yZWdyb3VuZCI6bnVsbCwiQmFja2dyb3VuZEZpbGxUeXBlIjowLCJNYXJnaW4iOnsiJHJlZiI6Ijg5In0sIlBhZGRpbmciOnsiJHJlZiI6IjkwIn0sIkJhY2tncm91bmQiOnsiJHJlZiI6IjkxIn0sIklzVmlzaWJsZSI6dHJ1ZSwiV2lkdGgiOjAuMCwiSGVpZ2h0IjowLjAsIkJvcmRlclN0eWxlIjp7IiRpZCI6IjY5MiIsIkxpbmVDb2xvciI6bnVsbCwiTGluZVdlaWdodCI6MC4wLCJMaW5lVHlwZSI6MCwiUGFyZW50U3R5bGUiOm51bGx9LCJQYXJlbnRTdHlsZSI6bnVsbH0sIkR1cmF0aW9uU3R5bGUiOnsiJGlkIjoiNjkzIiwiRm9udFNldHRpbmdzIjp7IiRpZCI6IjY5NCIsIkZvbnRTaXplIjoxMCwiRm9udE5hbWUiOiJDYWxpYnJpIiwiSXNCb2xkIjpmYWxzZSwiSXNJdGFsaWMiOmZhbHNlLCJJc1VuZGVybGluZWQiOmZhbHNlLCJQYXJlbnRTdHlsZSI6bnVsbH0sIkF1dG9TaXplIjowLCJGb3JlZ3JvdW5kIjp7IiRyZWYiOiI5NCJ9LCJNYXhXaWR0aCI6MjAwLjAsIk1heEhlaWdodCI6IkluZmluaXR5IiwiU21hcnRGb3JlZ3JvdW5kSXNBY3RpdmUiOmZhbHNlLCJIb3Jpem9udGFsQWxpZ25tZW50IjowLCJWZXJ0aWNhbEFsaWdubWVudCI6MCwiU21hcnRGb3JlZ3JvdW5kIjpudWxsLCJCYWNrZ3JvdW5kRmlsbFR5cGUiOjAsIk1hcmdpbiI6eyIkcmVmIjoiOTYifSwiUGFkZGluZyI6eyIkcmVmIjoiOTcifSwiQmFja2dyb3VuZCI6eyIkcmVmIjoiOTgifSwiSXNWaXNpYmxlIjp0cnVlLCJXaWR0aCI6MC4wLCJIZWlnaHQiOjAuMCwiQm9yZGVyU3R5bGUiOnsiJGlkIjoiNjk1IiwiTGluZUNvbG9yIjpudWxsLCJMaW5lV2VpZ2h0IjowLjAsIkxpbmVUeXBlIjowLCJQYXJlbnRTdHlsZSI6bnVsbH0sIlBhcmVudFN0eWxlIjpudWxsfSwiSG9yaXpvbnRhbENvbm5lY3RvclN0eWxlIjp7IiRpZCI6IjY5NiIsIkxpbmVDb2xvciI6eyIkcmVmIjoiMTAwIn0sIkxpbmVXZWlnaHQiOjEuMCwiTGluZVR5cGUiOjAsIlBhcmVudFN0eWxlIjpudWxsfSwiVmVydGljYWxDb25uZWN0b3JTdHlsZSI6eyIkaWQiOiI2OTciLCJMaW5lQ29sb3IiOnsiJHJlZiI6IjEwMyJ9LCJMaW5lV2VpZ2h0IjowLjAsIkxpbmVUeXBlIjowLCJQYXJlbnRTdHlsZSI6bnVsbH0sIk1hcmdpbiI6bnVsbCwiU3RhcnREYXRlUG9zaXRpb24iOjYsIkVuZERhdGVQb3NpdGlvbiI6NiwiRGF0ZUlzVmlzaWJsZSI6ZmFsc2UsIlRpdGxlUG9zaXRpb24iOjMsIkR1cmF0aW9uUG9zaXRpb24iOjYsIlBlcmNlbnRhZ2VDb21wbGV0ZWRQb3NpdGlvbiI6NiwiU3BhY2luZyI6MywiSXNCZWxvd1RpbWViYW5kIjp0cnVlLCJQZXJjZW50YWdlQ29tcGxldGVTaGFwZU9wYWNpdHkiOjM1LCJTaGFwZVN0eWxlIjp7IiRpZCI6IjY5OCIsIk1hcmdpbiI6eyIkcmVmIjoiMTA2In0sIlBhZGRpbmciOnsiJHJlZiI6IjEwNyJ9LCJCYWNrZ3JvdW5kIjp7IiRpZCI6IjY5OSIsIkNvbG9yIjp7IiRpZCI6IjcwMCIsIkEiOjI1NSwiUiI6NjgsIkciOjExNCwiQiI6MTk2fX0sIklzVmlzaWJsZSI6dHJ1ZSwiV2lkdGgiOjAuMCwiSGVpZ2h0IjoxMC4wLCJCb3JkZXJTdHlsZSI6eyIkaWQiOiI3MDEiLCJMaW5lQ29sb3IiOnsiJHJlZiI6IjY2NyJ9LCJMaW5lV2VpZ2h0IjowLjAsIkxpbmVUeXBlIjowLCJQYXJlbnRTdHlsZSI6bnVsbH0sIlBhcmVudFN0eWxlIjpudWxsfSwiVGl0bGVTdHlsZSI6eyIkaWQiOiI3MDIiLCJGb250U2V0dGluZ3MiOnsiJGlkIjoiNzAzIiwiRm9udFNpemUiOjgsIkZvbnROYW1lIjoiQ2FsaWJyaSIsIklzQm9sZCI6dHJ1ZSwiSXNJdGFsaWMiOmZhbHNlLCJJc1VuZGVybGluZWQiOmZhbHNlLCJQYXJlbnRTdHlsZSI6bnVsbH0sIkF1dG9TaXplIjowLCJGb3JlZ3JvdW5kIjp7IiRpZCI6IjcwNCIsIkNvbG9yIjp7IiRpZCI6IjcwNSIsIkEiOjI1NSwiUiI6MCwiRyI6MCwiQiI6MH19LCJNYXhXaWR0aCI6NzIwLjAsIk1heEhlaWdodCI6IkluZmluaXR5IiwiU21hcnRGb3JlZ3JvdW5kSXNBY3RpdmUiOmZhbHNlLCJIb3Jpem9udGFsQWxpZ25tZW50IjoyLCJWZXJ0aWNhbEFsaWdubWVudCI6MCwiU21hcnRGb3JlZ3JvdW5kIjpudWxsLCJCYWNrZ3JvdW5kRmlsbFR5cGUiOjAsIk1hcmdpbiI6eyIkcmVmIjoiMTE3In0sIlBhZGRpbmciOnsiJHJlZiI6IjExOCJ9LCJCYWNrZ3JvdW5kIjp7IiRpZCI6IjcwNiIsIkNvbG9yIjp7IiRpZCI6IjcwNyIsIkEiOjAsIlIiOjI1NSwiRyI6MjU1LCJCIjoyNTV9fSwiSXNWaXNpYmxlIjp0cnVlLCJXaWR0aCI6MC4wLCJIZWlnaHQiOjAuMCwiQm9yZGVyU3R5bGUiOnsiJGlkIjoiNzA4IiwiTGluZUNvbG9yIjpudWxsLCJMaW5lV2VpZ2h0IjowLjAsIkxpbmVUeXBlIjowLCJQYXJlbnRTdHlsZSI6bnVsbH0sIlBhcmVudFN0eWxlIjpudWxsfSwiRGF0ZVN0eWxlIjp7IiRpZCI6IjcwOSIsIkZvbnRTZXR0aW5ncyI6eyIkaWQiOiI3MTAiLCJGb250U2l6ZSI6MTAsIkZvbnROYW1lIjoiQ2FsaWJyaSIsIklzQm9sZCI6ZmFsc2UsIklzSXRhbGljIjpmYWxzZSwiSXNVbmRlcmxpbmVkIjpmYWxzZSwiUGFyZW50U3R5bGUiOm51bGx9LCJBdXRvU2l6ZSI6MCwiRm9yZWdyb3VuZCI6eyIkaWQiOiI3MTEiLCJDb2xvciI6eyIkaWQiOiI3MTI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xMjQifSwiUGFkZGluZyI6eyIkcmVmIjoiMTI1In0sIkJhY2tncm91bmQiOnsiJGlkIjoiNzEzIiwiQ29sb3IiOnsiJGlkIjoiNzE0IiwiQSI6MCwiUiI6MjU1LCJHIjoyNTUsIkIiOjI1NX19LCJJc1Zpc2libGUiOnRydWUsIldpZHRoIjowLjAsIkhlaWdodCI6MC4wLCJCb3JkZXJTdHlsZSI6eyIkaWQiOiI3MTUiLCJMaW5lQ29sb3IiOm51bGwsIkxpbmVXZWlnaHQiOjAuMCwiTGluZVR5cGUiOjAsIlBhcmVudFN0eWxlIjpudWxsfSwiUGFyZW50U3R5bGUiOm51bGx9LCJEYXRlRm9ybWF0Ijp7IiRyZWYiOiI2ODMifSwiV2Vla051bWJlcmluZyI6eyIkaWQiOiI3MTYiLCJGb3JtYXQiOjAsIklzVmlzaWJsZSI6ZmFsc2UsIkxhc3RLbm93blZpc2liaWxpdHlTdGF0ZSI6ZmFsc2V9LCJJc1Zpc2libGUiOnRydWUsIlBhcmVudFN0eWxlIjpudWxsfSwiSW5kZXgiOjE3LCJTbWFydER1cmF0aW9uQWN0aXZhdGVkIjpmYWxzZSwiRGF0ZUZvcm1hdCI6eyIkcmVmIjoiNjgzIn0sIldlZWtOdW1iZXJpbmciOnsiJGlkIjoiNzE3IiwiRm9ybWF0IjowLCJJc1Zpc2libGUiOmZhbHNlLCJMYXN0S25vd25WaXNpYmlsaXR5U3RhdGUiOmZhbHNlfSwiSWQiOiI2Nzc3NWEzOS0wNTAzLTQ2ZDgtOTA3Yi02ZGM4ZTYxM2U2ZTIiLCJJbXBvcnRJZCI6bnVsbCwiVGl0bGUiOiJTODogUGlsb3QiLCJOb3RlIjpudWxsLCJIeXBlcmxpbmsiOnsiJGlkIjoiNzE4IiwiQWRkcmVzcyI6IiIsIlN1YkFkZHJlc3MiOiIifSwiSXNDaGFuZ2VkIjpmYWxzZSwiSXNOZXciOmZhbHNlfSwiSW5kZXgiOjB9XSwiTWlsZXN0b25lcyI6W3siJGlkIjoiNzE5IiwiSWQiOiIwOTE5YWU4ZS1mOWNlLTRiYzgtODk3NC05ZmZjNGY4OTJiNTYiLCJJbmRleCI6MTIsIkdyb3VwSWQiOiIxZmI2NTU0Ni02NDEyLTQxYzgtYmZiNC1mOTVmMGYzYzc5YjciLCJUaXRsZSI6Ik5vbi1Qcm9kIEFjY2VwdGFuY2UiLCJEYXRlVGltZSI6IjIwMjAtMTEtMzBUMjM6NTk6MDAiLCJQZXJjZW50YWdlQ29tcGxldGUiOm51bGwsIk5vdGUiOm51bGwsIlN0eWxlIjp7IiRpZCI6IjcyMCIsIlRpdGxlUG9zaXRpb24iOiJSaWdodCIsIkRhdGVQb3NpdGlvbiI6IlJpZ2h0IiwiU2hhcGVUeXBlIjoxLCJTaGFwZVNpemUiOjAsIlNoYXBlU3R5bGUiOnsiJGlkIjoiNzIxIiwiTWFyZ2luIjp7IiRpZCI6IjcyMiIsIlRvcCI6MCwiTGVmdCI6MCwiUmlnaHQiOjAsIkJvdHRvbSI6MH0sIlBhZGRpbmciOnsiJGlkIjoiNzIzIiwiVG9wIjowLCJMZWZ0IjowLCJSaWdodCI6MCwiQm90dG9tIjowfSwiQmFja2dyb3VuZCI6eyIkaWQiOiI3MjQiLCJDb2xvciI6eyIkaWQiOiI3MjUiLCJBIjoyNTUsIlIiOjExMSwiRyI6NDksIkIiOjE1Mn19LCJJc1Zpc2libGUiOnRydWUsIldpZHRoIjoxMi4wLCJIZWlnaHQiOjE0LjAsIkJvcmRlclN0eWxlIjp7IiRpZCI6IjcyNiIsIkxpbmVDb2xvciI6eyIkcmVmIjoiNjUifSwiTGluZVdlaWdodCI6MC4wLCJMaW5lVHlwZSI6MCwiUGFyZW50U3R5bGUiOm51bGx9LCJQYXJlbnRTdHlsZSI6bnVsbH0sIlRpdGxlU3R5bGUiOnsiJGlkIjoiNzI3IiwiRm9udFNldHRpbmdzIjp7IiRpZCI6IjcyOCIsIkZvbnRTaXplIjo4LCJGb250TmFtZSI6IkNhbGlicmkiLCJJc0JvbGQiOmZhbHNlLCJJc0l0YWxpYyI6ZmFsc2UsIklzVW5kZXJsaW5lZCI6ZmFsc2UsIlBhcmVudFN0eWxlIjpudWxsfSwiQXV0b1NpemUiOjAsIkZvcmVncm91bmQiOnsiJGlkIjoiNzI5IiwiQ29sb3IiOnsiJGlkIjoiNzMwIiwiQSI6MjU1LCJSIjowLCJHIjowLCJCIjowfX0sIk1heFdpZHRoIjoyMDAuMCwiTWF4SGVpZ2h0IjoiSW5maW5pdHkiLCJTbWFydEZvcmVncm91bmRJc0FjdGl2ZSI6ZmFsc2UsIkhvcml6b250YWxBbGlnbm1lbnQiOjAsIlZlcnRpY2FsQWxpZ25tZW50IjowLCJTbWFydEZvcmVncm91bmQiOm51bGwsIkJhY2tncm91bmRGaWxsVHlwZSI6MCwiTWFyZ2luIjp7IiRpZCI6IjczMSIsIlRvcCI6MCwiTGVmdCI6MCwiUmlnaHQiOjAsIkJvdHRvbSI6MH0sIlBhZGRpbmciOnsiJGlkIjoiNzMyIiwiVG9wIjowLCJMZWZ0IjowLCJSaWdodCI6MCwiQm90dG9tIjowfSwiQmFja2dyb3VuZCI6eyIkaWQiOiI3MzMiLCJDb2xvciI6eyIkaWQiOiI3MzQiLCJBIjowLCJSIjoyNTUsIkciOjI1NSwiQiI6MjU1fX0sIklzVmlzaWJsZSI6dHJ1ZSwiV2lkdGgiOjAuMCwiSGVpZ2h0IjowLjAsIkJvcmRlclN0eWxlIjpudWxsLCJQYXJlbnRTdHlsZSI6bnVsbH0sIkRhdGVTdHlsZSI6eyIkaWQiOiI3MzUiLCJGb250U2V0dGluZ3MiOnsiJGlkIjoiNzM2IiwiRm9udFNpemUiOjgsIkZvbnROYW1lIjoiQ2FsaWJyaSIsIklzQm9sZCI6ZmFsc2UsIklzSXRhbGljIjpmYWxzZSwiSXNVbmRlcmxpbmVkIjpmYWxzZSwiUGFyZW50U3R5bGUiOm51bGx9LCJBdXRvU2l6ZSI6MCwiRm9yZWdyb3VuZCI6eyIkaWQiOiI3MzciLCJDb2xvciI6eyIkaWQiOiI3Mzg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pZCI6IjczOSIsIlRvcCI6MCwiTGVmdCI6MCwiUmlnaHQiOjAsIkJvdHRvbSI6MH0sIlBhZGRpbmciOnsiJGlkIjoiNzQwIiwiVG9wIjowLCJMZWZ0IjowLCJSaWdodCI6MCwiQm90dG9tIjowfSwiQmFja2dyb3VuZCI6eyIkaWQiOiI3NDEiLCJDb2xvciI6eyIkaWQiOiI3NDIiLCJBIjowLCJSIjoyNTUsIkciOjI1NSwiQiI6MjU1fX0sIklzVmlzaWJsZSI6dHJ1ZSwiV2lkdGgiOjAuMCwiSGVpZ2h0IjowLjAsIkJvcmRlclN0eWxlIjpudWxsLCJQYXJlbnRTdHlsZSI6bnVsbH0sIkRhdGVGb3JtYXQiOnsiJGlkIjoiNzQzIiwiRm9ybWF0U3RyaW5nIjoiTU1NTSBkLCB5eXl5IiwiU2VwYXJhdG9yIjoiLyIsIlVzZUludGVybmF0aW9uYWxEYXRlRm9ybWF0IjpmYWxzZSwiRGF0ZUlzVmlzaWJsZSI6dHJ1ZSwiVGltZUlzVmlzaWJsZSI6ZmFsc2UsIkhvdXJEaWdpdHMiOjEsIkFtUG1EZXNpZ25hdG9yIjoyLCJUcmltMDBNaW51dGVzIjpmYWxzZSwiTGFzdEtub3duVmlzaWJpbGl0eVN0YXRlIjp7IiRpZCI6Ijc0NCIsIkRhdGVQYXJ0SXNWaXNpYmxlIjp0cnVlLCJUaW1lUGFydElzVmlzaWJsZSI6ZmFsc2V9fSwiV2Vla051bWJlcmluZyI6eyIkaWQiOiI3NDUiLCJGb3JtYXQiOjAsIklzVmlzaWJsZSI6ZmFsc2UsIkxhc3RLbm93blZpc2liaWxpdHlTdGF0ZSI6ZmFsc2V9LCJJc1Zpc2libGUiOnRydWUsIlBhcmVudFN0eWxlIjpudWxsfSwiSHlwZXJsaW5rIjp7IiRpZCI6Ijc0NiIsIkFkZHJlc3MiOiIiLCJTdWJBZGRyZXNzIjoiIn0sIkltcG9ydElkIjpudWxsfSx7IiRpZCI6Ijc0NyIsIklkIjoiMTZhOWY3ODEtZmJjZi00MzQ4LWE5MGQtNDE4MzVmYTMyNDllIiwiSW5kZXgiOjE0LCJHcm91cElkIjoiMmM5YTgyNDYtYWRjMC00MDlmLTk2YjYtN2QxNTI4NTU4MDUyIiwiVGl0bGUiOiJSZWFkeSBmb3IgUGlsb3QiLCJEYXRlVGltZSI6IjIwMjEtMDEtMDRUMjM6NTk6MDAiLCJQZXJjZW50YWdlQ29tcGxldGUiOm51bGwsIk5vdGUiOm51bGwsIlN0eWxlIjp7IiRpZCI6Ijc0OCIsIlRpdGxlUG9zaXRpb24iOiJSaWdodCIsIkRhdGVQb3NpdGlvbiI6IlJpZ2h0IiwiU2hhcGVUeXBlIjoxLCJTaGFwZVNpemUiOjAsIlNoYXBlU3R5bGUiOnsiJGlkIjoiNzQ5IiwiTWFyZ2luIjp7IiRyZWYiOiI3MjIifSwiUGFkZGluZyI6eyIkcmVmIjoiNzIzIn0sIkJhY2tncm91bmQiOnsiJGlkIjoiNzUwIiwiQ29sb3IiOnsiJGlkIjoiNzUxIiwiQSI6MjU1LCJSIjoxMTEsIkciOjQ5LCJCIjoxNTJ9fSwiSXNWaXNpYmxlIjp0cnVlLCJXaWR0aCI6MTIuMCwiSGVpZ2h0IjoxNC4wLCJCb3JkZXJTdHlsZSI6eyIkaWQiOiI3NTIiLCJMaW5lQ29sb3IiOnsiJHJlZiI6IjY1In0sIkxpbmVXZWlnaHQiOjAuMCwiTGluZVR5cGUiOjAsIlBhcmVudFN0eWxlIjpudWxsfSwiUGFyZW50U3R5bGUiOm51bGx9LCJUaXRsZVN0eWxlIjp7IiRpZCI6Ijc1MyIsIkZvbnRTZXR0aW5ncyI6eyIkaWQiOiI3NTQiLCJGb250U2l6ZSI6OCwiRm9udE5hbWUiOiJDYWxpYnJpIiwiSXNCb2xkIjpmYWxzZSwiSXNJdGFsaWMiOmZhbHNlLCJJc1VuZGVybGluZWQiOmZhbHNlLCJQYXJlbnRTdHlsZSI6bnVsbH0sIkF1dG9TaXplIjowLCJGb3JlZ3JvdW5kIjp7IiRpZCI6Ijc1NSIsIkNvbG9yIjp7IiRpZCI6Ijc1NiIsIkEiOjI1NSwiUiI6MCwiRyI6MCwiQiI6MH19LCJNYXhXaWR0aCI6MjAwLjAsIk1heEhlaWdodCI6IkluZmluaXR5IiwiU21hcnRGb3JlZ3JvdW5kSXNBY3RpdmUiOmZhbHNlLCJIb3Jpem9udGFsQWxpZ25tZW50IjowLCJWZXJ0aWNhbEFsaWdubWVudCI6MCwiU21hcnRGb3JlZ3JvdW5kIjpudWxsLCJCYWNrZ3JvdW5kRmlsbFR5cGUiOjAsIk1hcmdpbiI6eyIkcmVmIjoiNzMxIn0sIlBhZGRpbmciOnsiJHJlZiI6IjczMiJ9LCJCYWNrZ3JvdW5kIjp7IiRpZCI6Ijc1NyIsIkNvbG9yIjp7IiRpZCI6Ijc1OCIsIkEiOjAsIlIiOjI1NSwiRyI6MjU1LCJCIjoyNTV9fSwiSXNWaXNpYmxlIjp0cnVlLCJXaWR0aCI6MC4wLCJIZWlnaHQiOjAuMCwiQm9yZGVyU3R5bGUiOm51bGwsIlBhcmVudFN0eWxlIjpudWxsfSwiRGF0ZVN0eWxlIjp7IiRpZCI6Ijc1OSIsIkZvbnRTZXR0aW5ncyI6eyIkaWQiOiI3NjAiLCJGb250U2l6ZSI6OCwiRm9udE5hbWUiOiJDYWxpYnJpIiwiSXNCb2xkIjpmYWxzZSwiSXNJdGFsaWMiOmZhbHNlLCJJc1VuZGVybGluZWQiOmZhbHNlLCJQYXJlbnRTdHlsZSI6bnVsbH0sIkF1dG9TaXplIjowLCJGb3JlZ3JvdW5kIjp7IiRpZCI6Ijc2MSIsIkNvbG9yIjp7IiRpZCI6Ijc2MiIsIkEiOjI1NSwiUiI6NjgsIkciOjg0LCJCIjoxMDZ9fSwiTWF4V2lkdGgiOjIwMC4wLCJNYXhIZWlnaHQiOiJJbmZpbml0eSIsIlNtYXJ0Rm9yZWdyb3VuZElzQWN0aXZlIjpmYWxzZSwiSG9yaXpvbnRhbEFsaWdubWVudCI6MCwiVmVydGljYWxBbGlnbm1lbnQiOjAsIlNtYXJ0Rm9yZWdyb3VuZCI6bnVsbCwiQmFja2dyb3VuZEZpbGxUeXBlIjowLCJNYXJnaW4iOnsiJHJlZiI6IjczOSJ9LCJQYWRkaW5nIjp7IiRyZWYiOiI3NDAifSwiQmFja2dyb3VuZCI6eyIkaWQiOiI3NjMiLCJDb2xvciI6eyIkaWQiOiI3NjQiLCJBIjowLCJSIjoyNTUsIkciOjI1NSwiQiI6MjU1fX0sIklzVmlzaWJsZSI6dHJ1ZSwiV2lkdGgiOjAuMCwiSGVpZ2h0IjowLjAsIkJvcmRlclN0eWxlIjpudWxsLCJQYXJlbnRTdHlsZSI6bnVsbH0sIkRhdGVGb3JtYXQiOnsiJGlkIjoiNzY1IiwiRm9ybWF0U3RyaW5nIjoiTU1NTSBkLCB5eXl5IiwiU2VwYXJhdG9yIjoiLyIsIlVzZUludGVybmF0aW9uYWxEYXRlRm9ybWF0IjpmYWxzZSwiRGF0ZUlzVmlzaWJsZSI6dHJ1ZSwiVGltZUlzVmlzaWJsZSI6ZmFsc2UsIkhvdXJEaWdpdHMiOjEsIkFtUG1EZXNpZ25hdG9yIjoyLCJUcmltMDBNaW51dGVzIjpmYWxzZSwiTGFzdEtub3duVmlzaWJpbGl0eVN0YXRlIjp7IiRpZCI6Ijc2NiIsIkRhdGVQYXJ0SXNWaXNpYmxlIjp0cnVlLCJUaW1lUGFydElzVmlzaWJsZSI6ZmFsc2V9fSwiV2Vla051bWJlcmluZyI6eyIkaWQiOiI3NjciLCJGb3JtYXQiOjAsIklzVmlzaWJsZSI6ZmFsc2UsIkxhc3RLbm93blZpc2liaWxpdHlTdGF0ZSI6ZmFsc2V9LCJJc1Zpc2libGUiOnRydWUsIlBhcmVudFN0eWxlIjpudWxsfSwiSHlwZXJsaW5rIjpudWxsLCJJbXBvcnRJZCI6bnVsbH0seyIkaWQiOiI3NjgiLCJJZCI6IjI2YzU2OWMwLTFlNmEtNDdiOC1iOWJiLTYyMTkwNjhkYzA4ZSIsIkluZGV4IjoxNiwiR3JvdXBJZCI6IjMzNDdhYTZkLWRiMmYtNGU1ZS1hZTg1LTBhYzhjOWVlZGZlZCIsIlRpdGxlIjoiUHJvZHVjdGlvbiBBY2NlcHRhbmNlIiwiRGF0ZVRpbWUiOiIyMDIxLTAxLTIyVDIzOjU5OjAwIiwiUGVyY2VudGFnZUNvbXBsZXRlIjpudWxsLCJOb3RlIjpudWxsLCJTdHlsZSI6eyIkaWQiOiI3NjkiLCJUaXRsZVBvc2l0aW9uIjoiUmlnaHQiLCJEYXRlUG9zaXRpb24iOiJSaWdodCIsIlNoYXBlVHlwZSI6MSwiU2hhcGVTaXplIjowLCJTaGFwZVN0eWxlIjp7IiRpZCI6Ijc3MCIsIk1hcmdpbiI6eyIkcmVmIjoiNzIyIn0sIlBhZGRpbmciOnsiJHJlZiI6IjcyMyJ9LCJCYWNrZ3JvdW5kIjp7IiRpZCI6Ijc3MSIsIkNvbG9yIjp7IiRpZCI6Ijc3MiIsIkEiOjI1NSwiUiI6MTExLCJHIjo0OSwiQiI6MTUyfX0sIklzVmlzaWJsZSI6dHJ1ZSwiV2lkdGgiOjEyLjAsIkhlaWdodCI6MTQuMCwiQm9yZGVyU3R5bGUiOnsiJGlkIjoiNzczIiwiTGluZUNvbG9yIjp7IiRyZWYiOiI2NSJ9LCJMaW5lV2VpZ2h0IjowLjAsIkxpbmVUeXBlIjowLCJQYXJlbnRTdHlsZSI6bnVsbH0sIlBhcmVudFN0eWxlIjpudWxsfSwiVGl0bGVTdHlsZSI6eyIkaWQiOiI3NzQiLCJGb250U2V0dGluZ3MiOnsiJGlkIjoiNzc1IiwiRm9udFNpemUiOjgsIkZvbnROYW1lIjoiQ2FsaWJyaSIsIklzQm9sZCI6ZmFsc2UsIklzSXRhbGljIjpmYWxzZSwiSXNVbmRlcmxpbmVkIjpmYWxzZSwiUGFyZW50U3R5bGUiOm51bGx9LCJBdXRvU2l6ZSI6MCwiRm9yZWdyb3VuZCI6eyIkaWQiOiI3NzYiLCJDb2xvciI6eyIkaWQiOiI3NzciLCJBIjoyNTUsIlIiOjAsIkciOjAsIkIiOjB9fSwiTWF4V2lkdGgiOjIwMC4wLCJNYXhIZWlnaHQiOiJJbmZpbml0eSIsIlNtYXJ0Rm9yZWdyb3VuZElzQWN0aXZlIjpmYWxzZSwiSG9yaXpvbnRhbEFsaWdubWVudCI6MCwiVmVydGljYWxBbGlnbm1lbnQiOjAsIlNtYXJ0Rm9yZWdyb3VuZCI6bnVsbCwiQmFja2dyb3VuZEZpbGxUeXBlIjowLCJNYXJnaW4iOnsiJHJlZiI6IjczMSJ9LCJQYWRkaW5nIjp7IiRyZWYiOiI3MzIifSwiQmFja2dyb3VuZCI6eyIkaWQiOiI3NzgiLCJDb2xvciI6eyIkaWQiOiI3NzkiLCJBIjowLCJSIjoyNTUsIkciOjI1NSwiQiI6MjU1fX0sIklzVmlzaWJsZSI6dHJ1ZSwiV2lkdGgiOjAuMCwiSGVpZ2h0IjowLjAsIkJvcmRlclN0eWxlIjpudWxsLCJQYXJlbnRTdHlsZSI6bnVsbH0sIkRhdGVTdHlsZSI6eyIkaWQiOiI3ODAiLCJGb250U2V0dGluZ3MiOnsiJGlkIjoiNzgxIiwiRm9udFNpemUiOjgsIkZvbnROYW1lIjoiQ2FsaWJyaSIsIklzQm9sZCI6ZmFsc2UsIklzSXRhbGljIjpmYWxzZSwiSXNVbmRlcmxpbmVkIjpmYWxzZSwiUGFyZW50U3R5bGUiOm51bGx9LCJBdXRvU2l6ZSI6MCwiRm9yZWdyb3VuZCI6eyIkaWQiOiI3ODIiLCJDb2xvciI6eyIkaWQiOiI3ODM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3MzkifSwiUGFkZGluZyI6eyIkcmVmIjoiNzQwIn0sIkJhY2tncm91bmQiOnsiJGlkIjoiNzg0IiwiQ29sb3IiOnsiJGlkIjoiNzg1IiwiQSI6MCwiUiI6MjU1LCJHIjoyNTUsIkIiOjI1NX19LCJJc1Zpc2libGUiOnRydWUsIldpZHRoIjowLjAsIkhlaWdodCI6MC4wLCJCb3JkZXJTdHlsZSI6bnVsbCwiUGFyZW50U3R5bGUiOm51bGx9LCJEYXRlRm9ybWF0Ijp7IiRpZCI6Ijc4NiIsIkZvcm1hdFN0cmluZyI6Ik1NTU0gZCwgeXl5eSIsIlNlcGFyYXRvciI6Ii8iLCJVc2VJbnRlcm5hdGlvbmFsRGF0ZUZvcm1hdCI6ZmFsc2UsIkRhdGVJc1Zpc2libGUiOnRydWUsIlRpbWVJc1Zpc2libGUiOmZhbHNlLCJIb3VyRGlnaXRzIjoxLCJBbVBtRGVzaWduYXRvciI6MiwiVHJpbTAwTWludXRlcyI6ZmFsc2UsIkxhc3RLbm93blZpc2liaWxpdHlTdGF0ZSI6eyIkaWQiOiI3ODciLCJEYXRlUGFydElzVmlzaWJsZSI6dHJ1ZSwiVGltZVBhcnRJc1Zpc2libGUiOmZhbHNlfX0sIldlZWtOdW1iZXJpbmciOnsiJGlkIjoiNzg4IiwiRm9ybWF0IjowLCJJc1Zpc2libGUiOmZhbHNlLCJMYXN0S25vd25WaXNpYmlsaXR5U3RhdGUiOmZhbHNlfSwiSXNWaXNpYmxlIjp0cnVlLCJQYXJlbnRTdHlsZSI6bnVsbH0sIkh5cGVybGluayI6bnVsbCwiSW1wb3J0SWQiOm51bGx9XX0seyIkaWQiOiI3ODkiLCJJZCI6IjllYjc2NTg0LWJiMzItNDUyZS1hYzA3LWZiMjYzN2JhZWExYSIsIkluZGV4IjoyLCJIZWFkZXJUZXh0IjoiVmVuZG9yIE9uYm9hcmRpbmciLCJTdHlsZSI6eyIkaWQiOiI3OTAiLCJIZWFkZXJTdHlsZSI6eyIkaWQiOiI3OTEiLCJUZXh0U3R5bGUiOnsiJGlkIjoiNzkyIiwiRm9udFNldHRpbmdzIjp7IiRpZCI6Ijc5MyIsIkZvbnRTaXplIjoxMCwiRm9udE5hbWUiOiJDYWxpYnJpIiwiSXNCb2xkIjp0cnVlLCJJc0l0YWxpYyI6ZmFsc2UsIklzVW5kZXJsaW5lZCI6ZmFsc2UsIlBhcmVudFN0eWxlIjpudWxsfSwiQXV0b1NpemUiOjAsIkZvcmVncm91bmQiOnsiJGlkIjoiNzk0IiwiQ29sb3IiOnsiJGlkIjoiNzk1IiwiQSI6MjU1LCJSIjoyNTUsIkciOjI1NSwiQiI6MjU1fX0sIk1heFdpZHRoIjowLjAsIk1heEhlaWdodCI6MC4wLCJTbWFydEZvcmVncm91bmRJc0FjdGl2ZSI6ZmFsc2UsIkhvcml6b250YWxBbGlnbm1lbnQiOjAsIlZlcnRpY2FsQWxpZ25tZW50IjowLCJTbWFydEZvcmVncm91bmQiOm51bGwsIkJhY2tncm91bmRGaWxsVHlwZSI6MCwiTWFyZ2luIjp7IiRyZWYiOiIzMTQifSwiUGFkZGluZyI6eyIkcmVmIjoiMzE1In0sIkJhY2tncm91bmQiOm51bGwsIklzVmlzaWJsZSI6ZmFsc2UsIldpZHRoIjowLjAsIkhlaWdodCI6MC4wLCJCb3JkZXJTdHlsZSI6bnVsbCwiUGFyZW50U3R5bGUiOm51bGx9LCJSZWN0YW5nbGVTdHlsZSI6eyIkaWQiOiI3OTYiLCJNYXJnaW4iOnsiJHJlZiI6IjMxNyJ9LCJQYWRkaW5nIjp7IiRyZWYiOiIzMTgifSwiQmFja2dyb3VuZCI6eyIkaWQiOiI3OTciLCJDb2xvciI6eyIkaWQiOiI3OTgiLCJBIjoyNTUsIlIiOjExMiwiRyI6MTczLCJCIjo3MX19LCJJc1Zpc2libGUiOmZhbHNlLCJXaWR0aCI6MC4wLCJIZWlnaHQiOjAuMCwiQm9yZGVyU3R5bGUiOnsiJGlkIjoiNzk5IiwiTGluZUNvbG9yIjp7IiRyZWYiOiIxNTEifSwiTGluZVdlaWdodCI6MC4wLCJMaW5lVHlwZSI6MCwiUGFyZW50U3R5bGUiOm51bGx9LCJQYXJlbnRTdHlsZSI6bnVsbH0sIk1hcmdpbiI6eyIkcmVmIjoiMzIyIn0sIlBhZGRpbmciOnsiJHJlZiI6IjMyMyJ9LCJCYWNrZ3JvdW5kIjpudWxsLCJJc1Zpc2libGUiOnRydWUsIldpZHRoIjowLjAsIkhlaWdodCI6MC4wLCJCb3JkZXJTdHlsZSI6bnVsbCwiUGFyZW50U3R5bGUiOm51bGx9LCJCYWNrZ3JvdW5kU3R5bGUiOnsiJGlkIjoiODAwIiwiTWFyZ2luIjp7IiRyZWYiOiIzMjUifSwiUGFkZGluZyI6eyIkcmVmIjoiMzI2In0sIkJhY2tncm91bmQiOnsiJGlkIjoiODAxIiwiQ29sb3IiOnsiJGlkIjoiODAyIiwiQSI6MzgsIlIiOjExMiwiRyI6MTczLCJCIjo3MX19LCJJc1Zpc2libGUiOnRydWUsIldpZHRoIjowLjAsIkhlaWdodCI6MC4wLCJCb3JkZXJTdHlsZSI6eyIkaWQiOiI4MDMiLCJMaW5lQ29sb3IiOnsiJHJlZiI6IjE2MSJ9LCJMaW5lV2VpZ2h0IjowLjAsIkxpbmVUeXBlIjowLCJQYXJlbnRTdHlsZSI6bnVsbH0sIlBhcmVudFN0eWxlIjpudWxsfSwiSXNBYm92ZVRpbWViYW5kIjpmYWxzZSwiTWFyZ2luIjp7IiRyZWYiOiIzMzAifSwiUGFkZGluZyI6eyIkcmVmIjoiMzMxIn0sIklzVmlzaWJsZSI6dHJ1ZSwiV2lkdGgiOjAuMCwiSGVpZ2h0IjowLjAsIkJvcmRlclN0eWxlIjpudWxsLCJQYXJlbnRTdHlsZSI6bnVsbH0sIlRhc2tzIjpbeyIkaWQiOiI4MDQiLCJfYXR0YWNoZWRNaWxlc3RvbmVzIjpbXSwiVGFza0RlZmluaXRpb24iOnsiJGlkIjoiODA1IiwiR3JvdXBOYW1lIjpudWxsLCJTdGFydERhdGUiOiIyMDIwLTA5LTIxVDIzOjU5OjAwWiIsIkVuZERhdGUiOiIyMDIwLTEwLTAyVDIzOjU5OjAwWiIsIlBlcmNlbnRhZ2VDb21wbGV0ZSI6bnVsbCwiU3R5bGUiOnsiJGlkIjoiODA2IiwiU2hhcGUiOjAsIlNoYXBlVGhpY2tuZXNzIjowLCJEdXJhdGlvbkZvcm1hdCI6MCwiSW5jbHVkZU5vbldvcmtpbmdEYXlzSW5EdXJhdGlvbiI6ZmFsc2UsIlBlcmNlbnRhZ2VDb21wbGV0ZVN0eWxlIjp7IiRpZCI6IjgwNyIsIkZvbnRTZXR0aW5ncyI6eyIkaWQiOiI4MDgiLCJGb250U2l6ZSI6MTAsIkZvbnROYW1lIjoiQ2FsaWJyaSIsIklzQm9sZCI6ZmFsc2UsIklzSXRhbGljIjpmYWxzZSwiSXNVbmRlcmxpbmVkIjpmYWxzZSwiUGFyZW50U3R5bGUiOm51bGx9LCJBdXRvU2l6ZSI6MCwiRm9yZWdyb3VuZCI6eyIkcmVmIjoiODcifSwiTWF4V2lkdGgiOjIwMC4wLCJNYXhIZWlnaHQiOiJJbmZpbml0eSIsIlNtYXJ0Rm9yZWdyb3VuZElzQWN0aXZlIjpmYWxzZSwiSG9yaXpvbnRhbEFsaWdubWVudCI6MCwiVmVydGljYWxBbGlnbm1lbnQiOjAsIlNtYXJ0Rm9yZWdyb3VuZCI6bnVsbCwiQmFja2dyb3VuZEZpbGxUeXBlIjowLCJNYXJnaW4iOnsiJHJlZiI6Ijg5In0sIlBhZGRpbmciOnsiJHJlZiI6IjkwIn0sIkJhY2tncm91bmQiOnsiJHJlZiI6IjkxIn0sIklzVmlzaWJsZSI6dHJ1ZSwiV2lkdGgiOjAuMCwiSGVpZ2h0IjowLjAsIkJvcmRlclN0eWxlIjp7IiRpZCI6IjgwOSIsIkxpbmVDb2xvciI6bnVsbCwiTGluZVdlaWdodCI6MC4wLCJMaW5lVHlwZSI6MCwiUGFyZW50U3R5bGUiOm51bGx9LCJQYXJlbnRTdHlsZSI6bnVsbH0sIkR1cmF0aW9uU3R5bGUiOnsiJGlkIjoiODEwIiwiRm9udFNldHRpbmdzIjp7IiRpZCI6IjgxMSIsIkZvbnRTaXplIjoxMCwiRm9udE5hbWUiOiJDYWxpYnJpIiwiSXNCb2xkIjpmYWxzZSwiSXNJdGFsaWMiOmZhbHNlLCJJc1VuZGVybGluZWQiOmZhbHNlLCJQYXJlbnRTdHlsZSI6bnVsbH0sIkF1dG9TaXplIjowLCJGb3JlZ3JvdW5kIjp7IiRyZWYiOiI5NCJ9LCJNYXhXaWR0aCI6MjAwLjAsIk1heEhlaWdodCI6IkluZmluaXR5IiwiU21hcnRGb3JlZ3JvdW5kSXNBY3RpdmUiOmZhbHNlLCJIb3Jpem9udGFsQWxpZ25tZW50IjowLCJWZXJ0aWNhbEFsaWdubWVudCI6MCwiU21hcnRGb3JlZ3JvdW5kIjpudWxsLCJCYWNrZ3JvdW5kRmlsbFR5cGUiOjAsIk1hcmdpbiI6eyIkcmVmIjoiOTYifSwiUGFkZGluZyI6eyIkcmVmIjoiOTcifSwiQmFja2dyb3VuZCI6eyIkcmVmIjoiOTgifSwiSXNWaXNpYmxlIjp0cnVlLCJXaWR0aCI6MC4wLCJIZWlnaHQiOjAuMCwiQm9yZGVyU3R5bGUiOnsiJGlkIjoiODEyIiwiTGluZUNvbG9yIjpudWxsLCJMaW5lV2VpZ2h0IjowLjAsIkxpbmVUeXBlIjowLCJQYXJlbnRTdHlsZSI6bnVsbH0sIlBhcmVudFN0eWxlIjpudWxsfSwiSG9yaXpvbnRhbENvbm5lY3RvclN0eWxlIjp7IiRpZCI6IjgxMyIsIkxpbmVDb2xvciI6eyIkcmVmIjoiMTAwIn0sIkxpbmVXZWlnaHQiOjEuMCwiTGluZVR5cGUiOjAsIlBhcmVudFN0eWxlIjpudWxsfSwiVmVydGljYWxDb25uZWN0b3JTdHlsZSI6eyIkaWQiOiI4MTQiLCJMaW5lQ29sb3IiOnsiJHJlZiI6IjEwMyJ9LCJMaW5lV2VpZ2h0IjowLjAsIkxpbmVUeXBlIjowLCJQYXJlbnRTdHlsZSI6bnVsbH0sIk1hcmdpbiI6bnVsbCwiU3RhcnREYXRlUG9zaXRpb24iOjYsIkVuZERhdGVQb3NpdGlvbiI6NiwiRGF0ZUlzVmlzaWJsZSI6ZmFsc2UsIlRpdGxlUG9zaXRpb24iOjMsIkR1cmF0aW9uUG9zaXRpb24iOjYsIlBlcmNlbnRhZ2VDb21wbGV0ZWRQb3NpdGlvbiI6NiwiU3BhY2luZyI6MywiSXNCZWxvd1RpbWViYW5kIjp0cnVlLCJQZXJjZW50YWdlQ29tcGxldGVTaGFwZU9wYWNpdHkiOjM1LCJTaGFwZVN0eWxlIjp7IiRpZCI6IjgxNSIsIk1hcmdpbiI6eyIkcmVmIjoiMTA2In0sIlBhZGRpbmciOnsiJHJlZiI6IjEwNyJ9LCJCYWNrZ3JvdW5kIjp7IiRpZCI6IjgxNiIsIkNvbG9yIjp7IiRpZCI6IjgxNyIsIkEiOjI1NSwiUiI6MTEyLCJHIjoxNzMsIkIiOjcxfX0sIklzVmlzaWJsZSI6dHJ1ZSwiV2lkdGgiOjAuMCwiSGVpZ2h0IjoxMC4wLCJCb3JkZXJTdHlsZSI6eyIkaWQiOiI4MTgiLCJMaW5lQ29sb3IiOnsiJGlkIjoiODE5IiwiJHR5cGUiOiJOTFJFLkNvbW1vbi5Eb20uU29saWRDb2xvckJydXNoLCBOTFJFLkNvbW1vbiIsIkNvbG9yIjp7IiRpZCI6IjgyMCIsIkEiOjI1NSwiUiI6MjU1LCJHIjowLCJCIjowfX0sIkxpbmVXZWlnaHQiOjAuMCwiTGluZVR5cGUiOjAsIlBhcmVudFN0eWxlIjpudWxsfSwiUGFyZW50U3R5bGUiOm51bGx9LCJUaXRsZVN0eWxlIjp7IiRpZCI6IjgyMSIsIkZvbnRTZXR0aW5ncyI6eyIkaWQiOiI4MjIiLCJGb250U2l6ZSI6OCwiRm9udE5hbWUiOiJDYWxpYnJpIiwiSXNCb2xkIjp0cnVlLCJJc0l0YWxpYyI6ZmFsc2UsIklzVW5kZXJsaW5lZCI6ZmFsc2UsIlBhcmVudFN0eWxlIjpudWxsfSwiQXV0b1NpemUiOjAsIkZvcmVncm91bmQiOnsiJGlkIjoiODIzIiwiQ29sb3IiOnsiJGlkIjoiODI0IiwiQSI6MjU1LCJSIjowLCJHIjowLCJCIjowfX0sIk1heFdpZHRoIjo3MjAuMCwiTWF4SGVpZ2h0IjoiSW5maW5pdHkiLCJTbWFydEZvcmVncm91bmRJc0FjdGl2ZSI6ZmFsc2UsIkhvcml6b250YWxBbGlnbm1lbnQiOjIsIlZlcnRpY2FsQWxpZ25tZW50IjowLCJTbWFydEZvcmVncm91bmQiOm51bGwsIkJhY2tncm91bmRGaWxsVHlwZSI6MCwiTWFyZ2luIjp7IiRyZWYiOiIxMTcifSwiUGFkZGluZyI6eyIkcmVmIjoiMTE4In0sIkJhY2tncm91bmQiOnsiJGlkIjoiODI1IiwiQ29sb3IiOnsiJGlkIjoiODI2IiwiQSI6MCwiUiI6MjU1LCJHIjoyNTUsIkIiOjI1NX19LCJJc1Zpc2libGUiOnRydWUsIldpZHRoIjowLjAsIkhlaWdodCI6MC4wLCJCb3JkZXJTdHlsZSI6eyIkaWQiOiI4MjciLCJMaW5lQ29sb3IiOm51bGwsIkxpbmVXZWlnaHQiOjAuMCwiTGluZVR5cGUiOjAsIlBhcmVudFN0eWxlIjpudWxsfSwiUGFyZW50U3R5bGUiOm51bGx9LCJEYXRlU3R5bGUiOnsiJGlkIjoiODI4IiwiRm9udFNldHRpbmdzIjp7IiRpZCI6IjgyOSIsIkZvbnRTaXplIjoxMCwiRm9udE5hbWUiOiJDYWxpYnJpIiwiSXNCb2xkIjpmYWxzZSwiSXNJdGFsaWMiOmZhbHNlLCJJc1VuZGVybGluZWQiOmZhbHNlLCJQYXJlbnRTdHlsZSI6bnVsbH0sIkF1dG9TaXplIjowLCJGb3JlZ3JvdW5kIjp7IiRpZCI6IjgzMCIsIkNvbG9yIjp7IiRpZCI6IjgzMSIsIkEiOjI1NSwiUiI6NjgsIkciOjg0LCJCIjoxMDZ9fSwiTWF4V2lkdGgiOjIwMC4wLCJNYXhIZWlnaHQiOiJJbmZpbml0eSIsIlNtYXJ0Rm9yZWdyb3VuZElzQWN0aXZlIjpmYWxzZSwiSG9yaXpvbnRhbEFsaWdubWVudCI6MCwiVmVydGljYWxBbGlnbm1lbnQiOjAsIlNtYXJ0Rm9yZWdyb3VuZCI6bnVsbCwiQmFja2dyb3VuZEZpbGxUeXBlIjowLCJNYXJnaW4iOnsiJHJlZiI6IjEyNCJ9LCJQYWRkaW5nIjp7IiRyZWYiOiIxMjUifSwiQmFja2dyb3VuZCI6eyIkaWQiOiI4MzIiLCJDb2xvciI6eyIkaWQiOiI4MzMiLCJBIjowLCJSIjoyNTUsIkciOjI1NSwiQiI6MjU1fX0sIklzVmlzaWJsZSI6dHJ1ZSwiV2lkdGgiOjAuMCwiSGVpZ2h0IjowLjAsIkJvcmRlclN0eWxlIjp7IiRpZCI6IjgzNCIsIkxpbmVDb2xvciI6bnVsbCwiTGluZVdlaWdodCI6MC4wLCJMaW5lVHlwZSI6MCwiUGFyZW50U3R5bGUiOm51bGx9LCJQYXJlbnRTdHlsZSI6bnVsbH0sIkRhdGVGb3JtYXQiOnsiJGlkIjoiODM1IiwiRm9ybWF0U3RyaW5nIjoiTU1NIGQiLCJTZXBhcmF0b3IiOiIvIiwiVXNlSW50ZXJuYXRpb25hbERhdGVGb3JtYXQiOmZhbHNlLCJEYXRlSXNWaXNpYmxlIjp0cnVlLCJUaW1lSXNWaXNpYmxlIjpmYWxzZSwiSG91ckRpZ2l0cyI6MSwiQW1QbURlc2lnbmF0b3IiOjIsIlRyaW0wME1pbnV0ZXMiOmZhbHNlLCJMYXN0S25vd25WaXNpYmlsaXR5U3RhdGUiOm51bGx9LCJXZWVrTnVtYmVyaW5nIjp7IiRpZCI6IjgzNiIsIkZvcm1hdCI6MCwiSXNWaXNpYmxlIjpmYWxzZSwiTGFzdEtub3duVmlzaWJpbGl0eVN0YXRlIjpmYWxzZX0sIklzVmlzaWJsZSI6dHJ1ZSwiUGFyZW50U3R5bGUiOm51bGx9LCJJbmRleCI6MTgsIlNtYXJ0RHVyYXRpb25BY3RpdmF0ZWQiOmZhbHNlLCJEYXRlRm9ybWF0Ijp7IiRyZWYiOiI4MzUifSwiV2Vla051bWJlcmluZyI6eyIkaWQiOiI4MzciLCJGb3JtYXQiOjAsIklzVmlzaWJsZSI6ZmFsc2UsIkxhc3RLbm93blZpc2liaWxpdHlTdGF0ZSI6ZmFsc2V9LCJJZCI6ImNhM2RiZTQwLTBjMTUtNDIzNC05M2I2LWMwMmU1ZjE3ZmZjZiIsIkltcG9ydElkIjpudWxsLCJUaXRsZSI6IlMxOiBWZW5kb3IgRGlzY292ZXJ5IFdvcmtzaG9wcyIsIk5vdGUiOm51bGwsIkh5cGVybGluayI6eyIkaWQiOiI4MzgiLCJBZGRyZXNzIjoiIiwiU3ViQWRkcmVzcyI6IiJ9LCJJc0NoYW5nZWQiOmZhbHNlLCJJc05ldyI6ZmFsc2V9LCJJbmRleCI6MH0seyIkaWQiOiI4MzkiLCJfYXR0YWNoZWRNaWxlc3RvbmVzIjpbXSwiVGFza0RlZmluaXRpb24iOnsiJGlkIjoiODQwIiwiR3JvdXBOYW1lIjoiODMzYzVhYmMtMjkzYi00NzI2LWE0NTgtMjJlMDViYjA4ZjdlIiwiU3RhcnREYXRlIjoiMjAyMC0xMC0wNVQyMzo1OTowMFoiLCJFbmREYXRlIjoiMjAyMC0xMC0xNlQyMzo1OTowMFoiLCJQZXJjZW50YWdlQ29tcGxldGUiOm51bGwsIlN0eWxlIjp7IiRpZCI6Ijg0MSIsIlNoYXBlIjowLCJTaGFwZVRoaWNrbmVzcyI6MCwiRHVyYXRpb25Gb3JtYXQiOjAsIkluY2x1ZGVOb25Xb3JraW5nRGF5c0luRHVyYXRpb24iOmZhbHNlLCJQZXJjZW50YWdlQ29tcGxldGVTdHlsZSI6eyIkaWQiOiI4NDIiLCJGb250U2V0dGluZ3MiOnsiJGlkIjoiODQzIiwiRm9udFNpemUiOjEwLCJGb250TmFtZSI6IkNhbGlicmkiLCJJc0JvbGQiOmZhbHNlLCJJc0l0YWxpYyI6ZmFsc2UsIklzVW5kZXJsaW5lZCI6ZmFsc2UsIlBhcmVudFN0eWxlIjpudWxsfSwiQXV0b1NpemUiOjAsIkZvcmVncm91bmQiOnsiJHJlZiI6Ijg3In0sIk1heFdpZHRoIjoyMDAuMCwiTWF4SGVpZ2h0IjoiSW5maW5pdHkiLCJTbWFydEZvcmVncm91bmRJc0FjdGl2ZSI6ZmFsc2UsIkhvcml6b250YWxBbGlnbm1lbnQiOjAsIlZlcnRpY2FsQWxpZ25tZW50IjowLCJTbWFydEZvcmVncm91bmQiOm51bGwsIkJhY2tncm91bmRGaWxsVHlwZSI6MCwiTWFyZ2luIjp7IiRyZWYiOiI4OSJ9LCJQYWRkaW5nIjp7IiRyZWYiOiI5MCJ9LCJCYWNrZ3JvdW5kIjp7IiRyZWYiOiI5MSJ9LCJJc1Zpc2libGUiOnRydWUsIldpZHRoIjowLjAsIkhlaWdodCI6MC4wLCJCb3JkZXJTdHlsZSI6eyIkaWQiOiI4NDQiLCJMaW5lQ29sb3IiOm51bGwsIkxpbmVXZWlnaHQiOjAuMCwiTGluZVR5cGUiOjAsIlBhcmVudFN0eWxlIjpudWxsfSwiUGFyZW50U3R5bGUiOm51bGx9LCJEdXJhdGlvblN0eWxlIjp7IiRpZCI6Ijg0NSIsIkZvbnRTZXR0aW5ncyI6eyIkaWQiOiI4NDYiLCJGb250U2l6ZSI6MTAsIkZvbnROYW1lIjoiQ2FsaWJyaSIsIklzQm9sZCI6ZmFsc2UsIklzSXRhbGljIjpmYWxzZSwiSXNVbmRlcmxpbmVkIjpmYWxzZSwiUGFyZW50U3R5bGUiOm51bGx9LCJBdXRvU2l6ZSI6MCwiRm9yZWdyb3VuZCI6eyIkcmVmIjoiOTQifSwiTWF4V2lkdGgiOjIwMC4wLCJNYXhIZWlnaHQiOiJJbmZpbml0eSIsIlNtYXJ0Rm9yZWdyb3VuZElzQWN0aXZlIjpmYWxzZSwiSG9yaXpvbnRhbEFsaWdubWVudCI6MCwiVmVydGljYWxBbGlnbm1lbnQiOjAsIlNtYXJ0Rm9yZWdyb3VuZCI6bnVsbCwiQmFja2dyb3VuZEZpbGxUeXBlIjowLCJNYXJnaW4iOnsiJHJlZiI6Ijk2In0sIlBhZGRpbmciOnsiJHJlZiI6Ijk3In0sIkJhY2tncm91bmQiOnsiJHJlZiI6Ijk4In0sIklzVmlzaWJsZSI6dHJ1ZSwiV2lkdGgiOjAuMCwiSGVpZ2h0IjowLjAsIkJvcmRlclN0eWxlIjp7IiRpZCI6Ijg0NyIsIkxpbmVDb2xvciI6bnVsbCwiTGluZVdlaWdodCI6MC4wLCJMaW5lVHlwZSI6MCwiUGFyZW50U3R5bGUiOm51bGx9LCJQYXJlbnRTdHlsZSI6bnVsbH0sIkhvcml6b250YWxDb25uZWN0b3JTdHlsZSI6eyIkaWQiOiI4NDgiLCJMaW5lQ29sb3IiOnsiJHJlZiI6IjEwMCJ9LCJMaW5lV2VpZ2h0IjoxLjAsIkxpbmVUeXBlIjowLCJQYXJlbnRTdHlsZSI6bnVsbH0sIlZlcnRpY2FsQ29ubmVjdG9yU3R5bGUiOnsiJGlkIjoiODQ5IiwiTGluZUNvbG9yIjp7IiRyZWYiOiIxMDMifSwiTGluZVdlaWdodCI6MC4wLCJMaW5lVHlwZSI6MCwiUGFyZW50U3R5bGUiOm51bGx9LCJNYXJnaW4iOm51bGwsIlN0YXJ0RGF0ZVBvc2l0aW9uIjo2LCJFbmREYXRlUG9zaXRpb24iOjYsIkRhdGVJc1Zpc2libGUiOmZhbHNlLCJUaXRsZVBvc2l0aW9uIjozLCJEdXJhdGlvblBvc2l0aW9uIjo2LCJQZXJjZW50YWdlQ29tcGxldGVkUG9zaXRpb24iOjYsIlNwYWNpbmciOjMsIklzQmVsb3dUaW1lYmFuZCI6dHJ1ZSwiUGVyY2VudGFnZUNvbXBsZXRlU2hhcGVPcGFjaXR5IjozNSwiU2hhcGVTdHlsZSI6eyIkaWQiOiI4NTAiLCJNYXJnaW4iOnsiJHJlZiI6IjEwNiJ9LCJQYWRkaW5nIjp7IiRyZWYiOiIxMDcifSwiQmFja2dyb3VuZCI6eyIkaWQiOiI4NTEiLCJDb2xvciI6eyIkaWQiOiI4NTIiLCJBIjoyNTUsIlIiOjExMiwiRyI6MTczLCJCIjo3MX19LCJJc1Zpc2libGUiOnRydWUsIldpZHRoIjowLjAsIkhlaWdodCI6MTAuMCwiQm9yZGVyU3R5bGUiOnsiJGlkIjoiODUzIiwiTGluZUNvbG9yIjp7IiRyZWYiOiI4MTkifSwiTGluZVdlaWdodCI6MC4wLCJMaW5lVHlwZSI6MCwiUGFyZW50U3R5bGUiOm51bGx9LCJQYXJlbnRTdHlsZSI6bnVsbH0sIlRpdGxlU3R5bGUiOnsiJGlkIjoiODU0IiwiRm9udFNldHRpbmdzIjp7IiRpZCI6Ijg1NSIsIkZvbnRTaXplIjo4LCJGb250TmFtZSI6IkNhbGlicmkiLCJJc0JvbGQiOnRydWUsIklzSXRhbGljIjpmYWxzZSwiSXNVbmRlcmxpbmVkIjpmYWxzZSwiUGFyZW50U3R5bGUiOm51bGx9LCJBdXRvU2l6ZSI6MCwiRm9yZWdyb3VuZCI6eyIkaWQiOiI4NTYiLCJDb2xvciI6eyIkaWQiOiI4NTciLCJBIjoyNTUsIlIiOjAsIkciOjAsIkIiOjB9fSwiTWF4V2lkdGgiOjcyMC4wLCJNYXhIZWlnaHQiOiJJbmZpbml0eSIsIlNtYXJ0Rm9yZWdyb3VuZElzQWN0aXZlIjpmYWxzZSwiSG9yaXpvbnRhbEFsaWdubWVudCI6MiwiVmVydGljYWxBbGlnbm1lbnQiOjAsIlNtYXJ0Rm9yZWdyb3VuZCI6bnVsbCwiQmFja2dyb3VuZEZpbGxUeXBlIjowLCJNYXJnaW4iOnsiJHJlZiI6IjExNyJ9LCJQYWRkaW5nIjp7IiRyZWYiOiIxMTgifSwiQmFja2dyb3VuZCI6eyIkaWQiOiI4NTgiLCJDb2xvciI6eyIkaWQiOiI4NTkiLCJBIjowLCJSIjoyNTUsIkciOjI1NSwiQiI6MjU1fX0sIklzVmlzaWJsZSI6dHJ1ZSwiV2lkdGgiOjAuMCwiSGVpZ2h0IjowLjAsIkJvcmRlclN0eWxlIjp7IiRpZCI6Ijg2MCIsIkxpbmVDb2xvciI6bnVsbCwiTGluZVdlaWdodCI6MC4wLCJMaW5lVHlwZSI6MCwiUGFyZW50U3R5bGUiOm51bGx9LCJQYXJlbnRTdHlsZSI6bnVsbH0sIkRhdGVTdHlsZSI6eyIkaWQiOiI4NjEiLCJGb250U2V0dGluZ3MiOnsiJGlkIjoiODYyIiwiRm9udFNpemUiOjEwLCJGb250TmFtZSI6IkNhbGlicmkiLCJJc0JvbGQiOmZhbHNlLCJJc0l0YWxpYyI6ZmFsc2UsIklzVW5kZXJsaW5lZCI6ZmFsc2UsIlBhcmVudFN0eWxlIjpudWxsfSwiQXV0b1NpemUiOjAsIkZvcmVncm91bmQiOnsiJGlkIjoiODYzIiwiQ29sb3IiOnsiJGlkIjoiODY0IiwiQSI6MjU1LCJSIjo2OCwiRyI6ODQsIkIiOjEwNn19LCJNYXhXaWR0aCI6MjAwLjAsIk1heEhlaWdodCI6IkluZmluaXR5IiwiU21hcnRGb3JlZ3JvdW5kSXNBY3RpdmUiOmZhbHNlLCJIb3Jpem9udGFsQWxpZ25tZW50IjowLCJWZXJ0aWNhbEFsaWdubWVudCI6MCwiU21hcnRGb3JlZ3JvdW5kIjpudWxsLCJCYWNrZ3JvdW5kRmlsbFR5cGUiOjAsIk1hcmdpbiI6eyIkcmVmIjoiMTI0In0sIlBhZGRpbmciOnsiJHJlZiI6IjEyNSJ9LCJCYWNrZ3JvdW5kIjp7IiRpZCI6Ijg2NSIsIkNvbG9yIjp7IiRpZCI6Ijg2NiIsIkEiOjAsIlIiOjI1NSwiRyI6MjU1LCJCIjoyNTV9fSwiSXNWaXNpYmxlIjp0cnVlLCJXaWR0aCI6MC4wLCJIZWlnaHQiOjAuMCwiQm9yZGVyU3R5bGUiOnsiJGlkIjoiODY3IiwiTGluZUNvbG9yIjpudWxsLCJMaW5lV2VpZ2h0IjowLjAsIkxpbmVUeXBlIjowLCJQYXJlbnRTdHlsZSI6bnVsbH0sIlBhcmVudFN0eWxlIjpudWxsfSwiRGF0ZUZvcm1hdCI6eyIkcmVmIjoiODM1In0sIldlZWtOdW1iZXJpbmciOnsiJGlkIjoiODY4IiwiRm9ybWF0IjowLCJJc1Zpc2libGUiOmZhbHNlLCJMYXN0S25vd25WaXNpYmlsaXR5U3RhdGUiOmZhbHNlfSwiSXNWaXNpYmxlIjp0cnVlLCJQYXJlbnRTdHlsZSI6bnVsbH0sIkluZGV4IjoxOSwiU21hcnREdXJhdGlvbkFjdGl2YXRlZCI6ZmFsc2UsIkRhdGVGb3JtYXQiOnsiJHJlZiI6IjgzNSJ9LCJXZWVrTnVtYmVyaW5nIjp7IiRpZCI6Ijg2OSIsIkZvcm1hdCI6MCwiSXNWaXNpYmxlIjpmYWxzZSwiTGFzdEtub3duVmlzaWJpbGl0eVN0YXRlIjpmYWxzZX0sIklkIjoiMDdiOThiY2YtNjc4ZC00NjcxLWFhNjMtZTZjOTBmMDQwMmFhIiwiSW1wb3J0SWQiOm51bGwsIlRpdGxlIjoiUzI6IEZpcnN0IFZlbmRvciBFbnRpdGxlbWVudHMiLCJOb3RlIjpudWxsLCJIeXBlcmxpbmsiOnsiJGlkIjoiODcwIiwiQWRkcmVzcyI6IiIsIlN1YkFkZHJlc3MiOiIifSwiSXNDaGFuZ2VkIjpmYWxzZSwiSXNOZXciOmZhbHNlfSwiSW5kZXgiOjB9LHsiJGlkIjoiODcxIiwiX2F0dGFjaGVkTWlsZXN0b25lcyI6W10sIlRhc2tEZWZpbml0aW9uIjp7IiRpZCI6Ijg3MiIsIkdyb3VwTmFtZSI6IjgzM2M1YWJjLTI5M2ItNDcyNi1hNDU4LTIyZTA1YmIwOGY3ZSIsIlN0YXJ0RGF0ZSI6IjIwMjAtMTAtMTlUMjM6NTk6MDBaIiwiRW5kRGF0ZSI6IjIwMjAtMTAtMzBUMjM6NTk6MDBaIiwiUGVyY2VudGFnZUNvbXBsZXRlIjpudWxsLCJTdHlsZSI6eyIkaWQiOiI4NzMiLCJTaGFwZSI6MCwiU2hhcGVUaGlja25lc3MiOjAsIkR1cmF0aW9uRm9ybWF0IjowLCJJbmNsdWRlTm9uV29ya2luZ0RheXNJbkR1cmF0aW9uIjpmYWxzZSwiUGVyY2VudGFnZUNvbXBsZXRlU3R5bGUiOnsiJGlkIjoiODc0IiwiRm9udFNldHRpbmdzIjp7IiRpZCI6Ijg3NSIsIkZvbnRTaXplIjoxMCwiRm9udE5hbWUiOiJDYWxpYnJpIiwiSXNCb2xkIjpmYWxzZSwiSXNJdGFsaWMiOmZhbHNlLCJJc1VuZGVybGluZWQiOmZhbHNlLCJQYXJlbnRTdHlsZSI6bnVsbH0sIkF1dG9TaXplIjowLCJGb3JlZ3JvdW5kIjp7IiRyZWYiOiI4NyJ9LCJNYXhXaWR0aCI6MjAwLjAsIk1heEhlaWdodCI6IkluZmluaXR5IiwiU21hcnRGb3JlZ3JvdW5kSXNBY3RpdmUiOmZhbHNlLCJIb3Jpem9udGFsQWxpZ25tZW50IjowLCJWZXJ0aWNhbEFsaWdubWVudCI6MCwiU21hcnRGb3JlZ3JvdW5kIjpudWxsLCJCYWNrZ3JvdW5kRmlsbFR5cGUiOjAsIk1hcmdpbiI6eyIkcmVmIjoiODkifSwiUGFkZGluZyI6eyIkcmVmIjoiOTAifSwiQmFja2dyb3VuZCI6eyIkcmVmIjoiOTEifSwiSXNWaXNpYmxlIjp0cnVlLCJXaWR0aCI6MC4wLCJIZWlnaHQiOjAuMCwiQm9yZGVyU3R5bGUiOnsiJGlkIjoiODc2IiwiTGluZUNvbG9yIjpudWxsLCJMaW5lV2VpZ2h0IjowLjAsIkxpbmVUeXBlIjowLCJQYXJlbnRTdHlsZSI6bnVsbH0sIlBhcmVudFN0eWxlIjpudWxsfSwiRHVyYXRpb25TdHlsZSI6eyIkaWQiOiI4NzciLCJGb250U2V0dGluZ3MiOnsiJGlkIjoiODc4IiwiRm9udFNpemUiOjEwLCJGb250TmFtZSI6IkNhbGlicmkiLCJJc0JvbGQiOmZhbHNlLCJJc0l0YWxpYyI6ZmFsc2UsIklzVW5kZXJsaW5lZCI6ZmFsc2UsIlBhcmVudFN0eWxlIjpudWxsfSwiQXV0b1NpemUiOjAsIkZvcmVncm91bmQiOnsiJHJlZiI6Ijk0In0sIk1heFdpZHRoIjoyMDAuMCwiTWF4SGVpZ2h0IjoiSW5maW5pdHkiLCJTbWFydEZvcmVncm91bmRJc0FjdGl2ZSI6ZmFsc2UsIkhvcml6b250YWxBbGlnbm1lbnQiOjAsIlZlcnRpY2FsQWxpZ25tZW50IjowLCJTbWFydEZvcmVncm91bmQiOm51bGwsIkJhY2tncm91bmRGaWxsVHlwZSI6MCwiTWFyZ2luIjp7IiRyZWYiOiI5NiJ9LCJQYWRkaW5nIjp7IiRyZWYiOiI5NyJ9LCJCYWNrZ3JvdW5kIjp7IiRyZWYiOiI5OCJ9LCJJc1Zpc2libGUiOnRydWUsIldpZHRoIjowLjAsIkhlaWdodCI6MC4wLCJCb3JkZXJTdHlsZSI6eyIkaWQiOiI4NzkiLCJMaW5lQ29sb3IiOm51bGwsIkxpbmVXZWlnaHQiOjAuMCwiTGluZVR5cGUiOjAsIlBhcmVudFN0eWxlIjpudWxsfSwiUGFyZW50U3R5bGUiOm51bGx9LCJIb3Jpem9udGFsQ29ubmVjdG9yU3R5bGUiOnsiJGlkIjoiODgwIiwiTGluZUNvbG9yIjp7IiRyZWYiOiIxMDAifSwiTGluZVdlaWdodCI6MS4wLCJMaW5lVHlwZSI6MCwiUGFyZW50U3R5bGUiOm51bGx9LCJWZXJ0aWNhbENvbm5lY3RvclN0eWxlIjp7IiRpZCI6Ijg4MSIsIkxpbmVDb2xvciI6eyIkcmVmIjoiMTAzIn0sIkxpbmVXZWlnaHQiOjAuMCwiTGluZVR5cGUiOjAsIlBhcmVudFN0eWxlIjpudWxsfSwiTWFyZ2luIjpudWxsLCJTdGFydERhdGVQb3NpdGlvbiI6NiwiRW5kRGF0ZVBvc2l0aW9uIjo2LCJEYXRlSXNWaXNpYmxlIjpmYWxzZSwiVGl0bGVQb3NpdGlvbiI6MCwiRHVyYXRpb25Qb3NpdGlvbiI6NiwiUGVyY2VudGFnZUNvbXBsZXRlZFBvc2l0aW9uIjo2LCJTcGFjaW5nIjozLCJJc0JlbG93VGltZWJhbmQiOnRydWUsIlBlcmNlbnRhZ2VDb21wbGV0ZVNoYXBlT3BhY2l0eSI6MzUsIlNoYXBlU3R5bGUiOnsiJGlkIjoiODgyIiwiTWFyZ2luIjp7IiRyZWYiOiIxMDYifSwiUGFkZGluZyI6eyIkcmVmIjoiMTA3In0sIkJhY2tncm91bmQiOnsiJGlkIjoiODgzIiwiQ29sb3IiOnsiJGlkIjoiODg0IiwiQSI6MjU1LCJSIjoxMTIsIkciOjE3MywiQiI6NzF9fSwiSXNWaXNpYmxlIjp0cnVlLCJXaWR0aCI6MC4wLCJIZWlnaHQiOjEwLjAsIkJvcmRlclN0eWxlIjp7IiRpZCI6Ijg4NSIsIkxpbmVDb2xvciI6eyIkaWQiOiI4ODYiLCIkdHlwZSI6Ik5MUkUuQ29tbW9uLkRvbS5Tb2xpZENvbG9yQnJ1c2gsIE5MUkUuQ29tbW9uIiwiQ29sb3IiOnsiJGlkIjoiODg3IiwiQSI6MjU1LCJSIjoyNTUsIkciOjAsIkIiOjB9fSwiTGluZVdlaWdodCI6MC4wLCJMaW5lVHlwZSI6MCwiUGFyZW50U3R5bGUiOm51bGx9LCJQYXJlbnRTdHlsZSI6bnVsbH0sIlRpdGxlU3R5bGUiOnsiJGlkIjoiODg4IiwiRm9udFNldHRpbmdzIjp7IiRpZCI6Ijg4OSIsIkZvbnRTaXplIjo4LCJGb250TmFtZSI6IkNhbGlicmkiLCJJc0JvbGQiOnRydWUsIklzSXRhbGljIjpmYWxzZSwiSXNVbmRlcmxpbmVkIjpmYWxzZSwiUGFyZW50U3R5bGUiOm51bGx9LCJBdXRvU2l6ZSI6MCwiRm9yZWdyb3VuZCI6eyIkaWQiOiI4OTAiLCJDb2xvciI6eyIkaWQiOiI4OTEiLCJBIjoyNTUsIlIiOjAsIkciOjAsIkIiOjB9fSwiTWF4V2lkdGgiOjcyMC4wLCJNYXhIZWlnaHQiOiJJbmZpbml0eSIsIlNtYXJ0Rm9yZWdyb3VuZElzQWN0aXZlIjpmYWxzZSwiSG9yaXpvbnRhbEFsaWdubWVudCI6MCwiVmVydGljYWxBbGlnbm1lbnQiOjAsIlNtYXJ0Rm9yZWdyb3VuZCI6bnVsbCwiQmFja2dyb3VuZEZpbGxUeXBlIjowLCJNYXJnaW4iOnsiJHJlZiI6IjExNyJ9LCJQYWRkaW5nIjp7IiRyZWYiOiIxMTgifSwiQmFja2dyb3VuZCI6eyIkaWQiOiI4OTIiLCJDb2xvciI6eyIkaWQiOiI4OTMiLCJBIjowLCJSIjoyNTUsIkciOjI1NSwiQiI6MjU1fX0sIklzVmlzaWJsZSI6dHJ1ZSwiV2lkdGgiOjAuMCwiSGVpZ2h0IjowLjAsIkJvcmRlclN0eWxlIjp7IiRpZCI6Ijg5NCIsIkxpbmVDb2xvciI6bnVsbCwiTGluZVdlaWdodCI6MC4wLCJMaW5lVHlwZSI6MCwiUGFyZW50U3R5bGUiOm51bGx9LCJQYXJlbnRTdHlsZSI6bnVsbH0sIkRhdGVTdHlsZSI6eyIkaWQiOiI4OTUiLCJGb250U2V0dGluZ3MiOnsiJGlkIjoiODk2IiwiRm9udFNpemUiOjksIkZvbnROYW1lIjoiQ2FsaWJyaSIsIklzQm9sZCI6ZmFsc2UsIklzSXRhbGljIjpmYWxzZSwiSXNVbmRlcmxpbmVkIjpmYWxzZSwiUGFyZW50U3R5bGUiOm51bGx9LCJBdXRvU2l6ZSI6MCwiRm9yZWdyb3VuZCI6eyIkaWQiOiI4OTciLCJDb2xvciI6eyIkaWQiOiI4OTg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xMjQifSwiUGFkZGluZyI6eyIkcmVmIjoiMTI1In0sIkJhY2tncm91bmQiOnsiJGlkIjoiODk5IiwiQ29sb3IiOnsiJGlkIjoiOTAwIiwiQSI6MCwiUiI6MjU1LCJHIjoyNTUsIkIiOjI1NX19LCJJc1Zpc2libGUiOnRydWUsIldpZHRoIjowLjAsIkhlaWdodCI6MC4wLCJCb3JkZXJTdHlsZSI6eyIkaWQiOiI5MDEiLCJMaW5lQ29sb3IiOm51bGwsIkxpbmVXZWlnaHQiOjAuMCwiTGluZVR5cGUiOjAsIlBhcmVudFN0eWxlIjpudWxsfSwiUGFyZW50U3R5bGUiOm51bGx9LCJEYXRlRm9ybWF0Ijp7IiRpZCI6IjkwMiIsIkZvcm1hdFN0cmluZyI6Ik1NTSBkIiwiU2VwYXJhdG9yIjoiLyIsIlVzZUludGVybmF0aW9uYWxEYXRlRm9ybWF0IjpmYWxzZSwiRGF0ZUlzVmlzaWJsZSI6dHJ1ZSwiVGltZUlzVmlzaWJsZSI6ZmFsc2UsIkhvdXJEaWdpdHMiOjEsIkFtUG1EZXNpZ25hdG9yIjoyLCJUcmltMDBNaW51dGVzIjpmYWxzZSwiTGFzdEtub3duVmlzaWJpbGl0eVN0YXRlIjpudWxsfSwiV2Vla051bWJlcmluZyI6eyIkaWQiOiI5MDMiLCJGb3JtYXQiOjAsIklzVmlzaWJsZSI6ZmFsc2UsIkxhc3RLbm93blZpc2liaWxpdHlTdGF0ZSI6ZmFsc2V9LCJJc1Zpc2libGUiOnRydWUsIlBhcmVudFN0eWxlIjpudWxsfSwiSW5kZXgiOjIwLCJTbWFydER1cmF0aW9uQWN0aXZhdGVkIjpmYWxzZSwiRGF0ZUZvcm1hdCI6eyIkcmVmIjoiOTAyIn0sIldlZWtOdW1iZXJpbmciOnsiJGlkIjoiOTA0IiwiRm9ybWF0IjowLCJJc1Zpc2libGUiOmZhbHNlLCJMYXN0S25vd25WaXNpYmlsaXR5U3RhdGUiOmZhbHNlfSwiSWQiOiIxNTVkYzBkZi02ZjQxLTQzYTgtYTA1Yi03ZjE4N2QxNmYzY2IiLCJJbXBvcnRJZCI6bnVsbCwiVGl0bGUiOiJTMzogU2Vjb25kIFZlbmRvciIsIk5vdGUiOm51bGwsIkh5cGVybGluayI6eyIkaWQiOiI5MDUiLCJBZGRyZXNzIjoiIiwiU3ViQWRkcmVzcyI6IiJ9LCJJc0NoYW5nZWQiOmZhbHNlLCJJc05ldyI6ZmFsc2V9LCJJbmRleCI6MH0seyIkaWQiOiI5MDYiLCJfYXR0YWNoZWRNaWxlc3RvbmVzIjpbXSwiVGFza0RlZmluaXRpb24iOnsiJGlkIjoiOTA3IiwiR3JvdXBOYW1lIjoiODMzYzVhYmMtMjkzYi00NzI2LWE0NTgtMjJlMDViYjA4ZjdlIiwiU3RhcnREYXRlIjoiMjAyMC0xMS0wM1QyMzo1OTowMCIsIkVuZERhdGUiOiIyMDIwLTExLTE0VDIzOjU5OjAwIiwiUGVyY2VudGFnZUNvbXBsZXRlIjpudWxsLCJTdHlsZSI6eyIkaWQiOiI5MDgiLCJTaGFwZSI6MCwiU2hhcGVUaGlja25lc3MiOjAsIkR1cmF0aW9uRm9ybWF0IjowLCJJbmNsdWRlTm9uV29ya2luZ0RheXNJbkR1cmF0aW9uIjpmYWxzZSwiUGVyY2VudGFnZUNvbXBsZXRlU3R5bGUiOnsiJGlkIjoiOTA5IiwiRm9udFNldHRpbmdzIjp7IiRpZCI6IjkxMCIsIkZvbnRTaXplIjoxMCwiRm9udE5hbWUiOiJDYWxpYnJpIiwiSXNCb2xkIjpmYWxzZSwiSXNJdGFsaWMiOmZhbHNlLCJJc1VuZGVybGluZWQiOmZhbHNlLCJQYXJlbnRTdHlsZSI6bnVsbH0sIkF1dG9TaXplIjowLCJGb3JlZ3JvdW5kIjp7IiRyZWYiOiI4NyJ9LCJNYXhXaWR0aCI6MjAwLjAsIk1heEhlaWdodCI6IkluZmluaXR5IiwiU21hcnRGb3JlZ3JvdW5kSXNBY3RpdmUiOmZhbHNlLCJIb3Jpem9udGFsQWxpZ25tZW50IjowLCJWZXJ0aWNhbEFsaWdubWVudCI6MCwiU21hcnRGb3JlZ3JvdW5kIjpudWxsLCJCYWNrZ3JvdW5kRmlsbFR5cGUiOjAsIk1hcmdpbiI6eyIkcmVmIjoiODkifSwiUGFkZGluZyI6eyIkcmVmIjoiOTAifSwiQmFja2dyb3VuZCI6eyIkcmVmIjoiOTEifSwiSXNWaXNpYmxlIjp0cnVlLCJXaWR0aCI6MC4wLCJIZWlnaHQiOjAuMCwiQm9yZGVyU3R5bGUiOnsiJGlkIjoiOTExIiwiTGluZUNvbG9yIjpudWxsLCJMaW5lV2VpZ2h0IjowLjAsIkxpbmVUeXBlIjowLCJQYXJlbnRTdHlsZSI6bnVsbH0sIlBhcmVudFN0eWxlIjpudWxsfSwiRHVyYXRpb25TdHlsZSI6eyIkaWQiOiI5MTIiLCJGb250U2V0dGluZ3MiOnsiJGlkIjoiOTEzIiwiRm9udFNpemUiOjEwLCJGb250TmFtZSI6IkNhbGlicmkiLCJJc0JvbGQiOmZhbHNlLCJJc0l0YWxpYyI6ZmFsc2UsIklzVW5kZXJsaW5lZCI6ZmFsc2UsIlBhcmVudFN0eWxlIjpudWxsfSwiQXV0b1NpemUiOjAsIkZvcmVncm91bmQiOnsiJHJlZiI6Ijk0In0sIk1heFdpZHRoIjoyMDAuMCwiTWF4SGVpZ2h0IjoiSW5maW5pdHkiLCJTbWFydEZvcmVncm91bmRJc0FjdGl2ZSI6ZmFsc2UsIkhvcml6b250YWxBbGlnbm1lbnQiOjAsIlZlcnRpY2FsQWxpZ25tZW50IjowLCJTbWFydEZvcmVncm91bmQiOm51bGwsIkJhY2tncm91bmRGaWxsVHlwZSI6MCwiTWFyZ2luIjp7IiRyZWYiOiI5NiJ9LCJQYWRkaW5nIjp7IiRyZWYiOiI5NyJ9LCJCYWNrZ3JvdW5kIjp7IiRyZWYiOiI5OCJ9LCJJc1Zpc2libGUiOnRydWUsIldpZHRoIjowLjAsIkhlaWdodCI6MC4wLCJCb3JkZXJTdHlsZSI6eyIkaWQiOiI5MTQiLCJMaW5lQ29sb3IiOm51bGwsIkxpbmVXZWlnaHQiOjAuMCwiTGluZVR5cGUiOjAsIlBhcmVudFN0eWxlIjpudWxsfSwiUGFyZW50U3R5bGUiOm51bGx9LCJIb3Jpem9udGFsQ29ubmVjdG9yU3R5bGUiOnsiJGlkIjoiOTE1IiwiTGluZUNvbG9yIjp7IiRyZWYiOiIxMDAifSwiTGluZVdlaWdodCI6MS4wLCJMaW5lVHlwZSI6MCwiUGFyZW50U3R5bGUiOm51bGx9LCJWZXJ0aWNhbENvbm5lY3RvclN0eWxlIjp7IiRpZCI6IjkxNiIsIkxpbmVDb2xvciI6eyIkcmVmIjoiMTAzIn0sIkxpbmVXZWlnaHQiOjAuMCwiTGluZVR5cGUiOjAsIlBhcmVudFN0eWxlIjpudWxsfSwiTWFyZ2luIjpudWxsLCJTdGFydERhdGVQb3NpdGlvbiI6NiwiRW5kRGF0ZVBvc2l0aW9uIjo2LCJEYXRlSXNWaXNpYmxlIjpmYWxzZSwiVGl0bGVQb3NpdGlvbiI6MSwiRHVyYXRpb25Qb3NpdGlvbiI6NiwiUGVyY2VudGFnZUNvbXBsZXRlZFBvc2l0aW9uIjo2LCJTcGFjaW5nIjozLCJJc0JlbG93VGltZWJhbmQiOnRydWUsIlBlcmNlbnRhZ2VDb21wbGV0ZVNoYXBlT3BhY2l0eSI6MzUsIlNoYXBlU3R5bGUiOnsiJGlkIjoiOTE3IiwiTWFyZ2luIjp7IiRyZWYiOiIxMDYifSwiUGFkZGluZyI6eyIkcmVmIjoiMTA3In0sIkJhY2tncm91bmQiOnsiJGlkIjoiOTE4IiwiQ29sb3IiOnsiJGlkIjoiOTE5IiwiQSI6MjU1LCJSIjoxMTIsIkciOjE3MywiQiI6NzF9fSwiSXNWaXNpYmxlIjp0cnVlLCJXaWR0aCI6MC4wLCJIZWlnaHQiOjEwLjAsIkJvcmRlclN0eWxlIjp7IiRpZCI6IjkyMCIsIkxpbmVDb2xvciI6eyIkaWQiOiI5MjEiLCIkdHlwZSI6Ik5MUkUuQ29tbW9uLkRvbS5Tb2xpZENvbG9yQnJ1c2gsIE5MUkUuQ29tbW9uIiwiQ29sb3IiOnsiJGlkIjoiOTIyIiwiQSI6MjU1LCJSIjoyNTUsIkciOjAsIkIiOjB9fSwiTGluZVdlaWdodCI6MC4wLCJMaW5lVHlwZSI6MCwiUGFyZW50U3R5bGUiOm51bGx9LCJQYXJlbnRTdHlsZSI6bnVsbH0sIlRpdGxlU3R5bGUiOnsiJGlkIjoiOTIzIiwiRm9udFNldHRpbmdzIjp7IiRpZCI6IjkyNCIsIkZvbnRTaXplIjo4LCJGb250TmFtZSI6IkNhbGlicmkiLCJJc0JvbGQiOnRydWUsIklzSXRhbGljIjpmYWxzZSwiSXNVbmRlcmxpbmVkIjpmYWxzZSwiUGFyZW50U3R5bGUiOm51bGx9LCJBdXRvU2l6ZSI6MCwiRm9yZWdyb3VuZCI6eyIkaWQiOiI5MjUiLCJDb2xvciI6eyIkaWQiOiI5MjYiLCJBIjoyNTUsIlIiOjAsIkciOjAsIkIiOjB9fSwiTWF4V2lkdGgiOjcyMC4wLCJNYXhIZWlnaHQiOiJJbmZpbml0eSIsIlNtYXJ0Rm9yZWdyb3VuZElzQWN0aXZlIjpmYWxzZSwiSG9yaXpvbnRhbEFsaWdubWVudCI6MCwiVmVydGljYWxBbGlnbm1lbnQiOjAsIlNtYXJ0Rm9yZWdyb3VuZCI6bnVsbCwiQmFja2dyb3VuZEZpbGxUeXBlIjowLCJNYXJnaW4iOnsiJHJlZiI6IjExNyJ9LCJQYWRkaW5nIjp7IiRyZWYiOiIxMTgifSwiQmFja2dyb3VuZCI6eyIkaWQiOiI5MjciLCJDb2xvciI6eyIkaWQiOiI5MjgiLCJBIjowLCJSIjoyNTUsIkciOjI1NSwiQiI6MjU1fX0sIklzVmlzaWJsZSI6dHJ1ZSwiV2lkdGgiOjAuMCwiSGVpZ2h0IjowLjAsIkJvcmRlclN0eWxlIjp7IiRpZCI6IjkyOSIsIkxpbmVDb2xvciI6bnVsbCwiTGluZVdlaWdodCI6MC4wLCJMaW5lVHlwZSI6MCwiUGFyZW50U3R5bGUiOm51bGx9LCJQYXJlbnRTdHlsZSI6bnVsbH0sIkRhdGVTdHlsZSI6eyIkaWQiOiI5MzAiLCJGb250U2V0dGluZ3MiOnsiJGlkIjoiOTMxIiwiRm9udFNpemUiOjEwLCJGb250TmFtZSI6IkNhbGlicmkiLCJJc0JvbGQiOmZhbHNlLCJJc0l0YWxpYyI6ZmFsc2UsIklzVW5kZXJsaW5lZCI6ZmFsc2UsIlBhcmVudFN0eWxlIjpudWxsfSwiQXV0b1NpemUiOjAsIkZvcmVncm91bmQiOnsiJHJlZiI6IjEyMiJ9LCJNYXhXaWR0aCI6MjAwLjAsIk1heEhlaWdodCI6IkluZmluaXR5IiwiU21hcnRGb3JlZ3JvdW5kSXNBY3RpdmUiOmZhbHNlLCJIb3Jpem9udGFsQWxpZ25tZW50IjowLCJWZXJ0aWNhbEFsaWdubWVudCI6MCwiU21hcnRGb3JlZ3JvdW5kIjpudWxsLCJCYWNrZ3JvdW5kRmlsbFR5cGUiOjAsIk1hcmdpbiI6eyIkcmVmIjoiMTI0In0sIlBhZGRpbmciOnsiJHJlZiI6IjEyNSJ9LCJCYWNrZ3JvdW5kIjp7IiRyZWYiOiIxMjYifSwiSXNWaXNpYmxlIjp0cnVlLCJXaWR0aCI6MC4wLCJIZWlnaHQiOjAuMCwiQm9yZGVyU3R5bGUiOnsiJGlkIjoiOTMyIiwiTGluZUNvbG9yIjpudWxsLCJMaW5lV2VpZ2h0IjowLjAsIkxpbmVUeXBlIjowLCJQYXJlbnRTdHlsZSI6bnVsbH0sIlBhcmVudFN0eWxlIjpudWxsfSwiRGF0ZUZvcm1hdCI6eyIkaWQiOiI5MzMiLCJGb3JtYXRTdHJpbmciOiJNTU0gZCIsIlNlcGFyYXRvciI6Ii8iLCJVc2VJbnRlcm5hdGlvbmFsRGF0ZUZvcm1hdCI6ZmFsc2UsIkRhdGVJc1Zpc2libGUiOnRydWUsIlRpbWVJc1Zpc2libGUiOmZhbHNlLCJIb3VyRGlnaXRzIjoxLCJBbVBtRGVzaWduYXRvciI6MiwiVHJpbTAwTWludXRlcyI6ZmFsc2UsIkxhc3RLbm93blZpc2liaWxpdHlTdGF0ZSI6bnVsbH0sIldlZWtOdW1iZXJpbmciOnsiJGlkIjoiOTM0IiwiRm9ybWF0IjowLCJJc1Zpc2libGUiOmZhbHNlLCJMYXN0S25vd25WaXNpYmlsaXR5U3RhdGUiOmZhbHNlfSwiSXNWaXNpYmxlIjp0cnVlLCJQYXJlbnRTdHlsZSI6bnVsbH0sIkluZGV4IjoyMSwiU21hcnREdXJhdGlvbkFjdGl2YXRlZCI6ZmFsc2UsIkRhdGVGb3JtYXQiOnsiJHJlZiI6IjkzMyJ9LCJXZWVrTnVtYmVyaW5nIjp7IiRpZCI6IjkzNSIsIkZvcm1hdCI6MCwiSXNWaXNpYmxlIjpmYWxzZSwiTGFzdEtub3duVmlzaWJpbGl0eVN0YXRlIjpmYWxzZX0sIklkIjoiN2JkYmE0NjYtOGZhMS00YTQ4LThlNGEtOWE5NzQ4ZWU2N2Q1IiwiSW1wb3J0SWQiOm51bGwsIlRpdGxlIjoiUzQ6IFRoaXJkIFZlbmRvciIsIk5vdGUiOm51bGwsIkh5cGVybGluayI6eyIkaWQiOiI5MzYiLCJBZGRyZXNzIjoiIiwiU3ViQWRkcmVzcyI6IiJ9LCJJc0NoYW5nZWQiOmZhbHNlLCJJc05ldyI6ZmFsc2V9LCJJbmRleCI6MH0seyIkaWQiOiI5MzciLCJfYXR0YWNoZWRNaWxlc3RvbmVzIjpbXSwiVGFza0RlZmluaXRpb24iOnsiJGlkIjoiOTM4IiwiR3JvdXBOYW1lIjoiODMzYzVhYmMtMjkzYi00NzI2LWE0NTgtMjJlMDViYjA4ZjdlIiwiU3RhcnREYXRlIjoiMjAyMC0xMS0xNlQyMzo1OTowMFoiLCJFbmREYXRlIjoiMjAyMC0xMS0yN1QyMzo1OTowMFoiLCJQZXJjZW50YWdlQ29tcGxldGUiOm51bGwsIlN0eWxlIjp7IiRpZCI6IjkzOSIsIlNoYXBlIjowLCJTaGFwZVRoaWNrbmVzcyI6MCwiRHVyYXRpb25Gb3JtYXQiOjAsIkluY2x1ZGVOb25Xb3JraW5nRGF5c0luRHVyYXRpb24iOmZhbHNlLCJQZXJjZW50YWdlQ29tcGxldGVTdHlsZSI6eyIkaWQiOiI5NDAiLCJGb250U2V0dGluZ3MiOnsiJGlkIjoiOTQxIiwiRm9udFNpemUiOjEwLCJGb250TmFtZSI6IkNhbGlicmkiLCJJc0JvbGQiOmZhbHNlLCJJc0l0YWxpYyI6ZmFsc2UsIklzVW5kZXJsaW5lZCI6ZmFsc2UsIlBhcmVudFN0eWxlIjpudWxsfSwiQXV0b1NpemUiOjAsIkZvcmVncm91bmQiOnsiJHJlZiI6Ijg3In0sIk1heFdpZHRoIjoyMDAuMCwiTWF4SGVpZ2h0IjoiSW5maW5pdHkiLCJTbWFydEZvcmVncm91bmRJc0FjdGl2ZSI6ZmFsc2UsIkhvcml6b250YWxBbGlnbm1lbnQiOjAsIlZlcnRpY2FsQWxpZ25tZW50IjowLCJTbWFydEZvcmVncm91bmQiOm51bGwsIkJhY2tncm91bmRGaWxsVHlwZSI6MCwiTWFyZ2luIjp7IiRyZWYiOiI4OSJ9LCJQYWRkaW5nIjp7IiRyZWYiOiI5MCJ9LCJCYWNrZ3JvdW5kIjp7IiRyZWYiOiI5MSJ9LCJJc1Zpc2libGUiOnRydWUsIldpZHRoIjowLjAsIkhlaWdodCI6MC4wLCJCb3JkZXJTdHlsZSI6eyIkaWQiOiI5NDIiLCJMaW5lQ29sb3IiOm51bGwsIkxpbmVXZWlnaHQiOjAuMCwiTGluZVR5cGUiOjAsIlBhcmVudFN0eWxlIjpudWxsfSwiUGFyZW50U3R5bGUiOm51bGx9LCJEdXJhdGlvblN0eWxlIjp7IiRpZCI6Ijk0MyIsIkZvbnRTZXR0aW5ncyI6eyIkaWQiOiI5NDQiLCJGb250U2l6ZSI6MTAsIkZvbnROYW1lIjoiQ2FsaWJyaSIsIklzQm9sZCI6ZmFsc2UsIklzSXRhbGljIjpmYWxzZSwiSXNVbmRlcmxpbmVkIjpmYWxzZSwiUGFyZW50U3R5bGUiOm51bGx9LCJBdXRvU2l6ZSI6MCwiRm9yZWdyb3VuZCI6eyIkcmVmIjoiOTQifSwiTWF4V2lkdGgiOjIwMC4wLCJNYXhIZWlnaHQiOiJJbmZpbml0eSIsIlNtYXJ0Rm9yZWdyb3VuZElzQWN0aXZlIjpmYWxzZSwiSG9yaXpvbnRhbEFsaWdubWVudCI6MCwiVmVydGljYWxBbGlnbm1lbnQiOjAsIlNtYXJ0Rm9yZWdyb3VuZCI6bnVsbCwiQmFja2dyb3VuZEZpbGxUeXBlIjowLCJNYXJnaW4iOnsiJHJlZiI6Ijk2In0sIlBhZGRpbmciOnsiJHJlZiI6Ijk3In0sIkJhY2tncm91bmQiOnsiJHJlZiI6Ijk4In0sIklzVmlzaWJsZSI6dHJ1ZSwiV2lkdGgiOjAuMCwiSGVpZ2h0IjowLjAsIkJvcmRlclN0eWxlIjp7IiRpZCI6Ijk0NSIsIkxpbmVDb2xvciI6bnVsbCwiTGluZVdlaWdodCI6MC4wLCJMaW5lVHlwZSI6MCwiUGFyZW50U3R5bGUiOm51bGx9LCJQYXJlbnRTdHlsZSI6bnVsbH0sIkhvcml6b250YWxDb25uZWN0b3JTdHlsZSI6eyIkaWQiOiI5NDYiLCJMaW5lQ29sb3IiOnsiJHJlZiI6IjEwMCJ9LCJMaW5lV2VpZ2h0IjoxLjAsIkxpbmVUeXBlIjowLCJQYXJlbnRTdHlsZSI6bnVsbH0sIlZlcnRpY2FsQ29ubmVjdG9yU3R5bGUiOnsiJGlkIjoiOTQ3IiwiTGluZUNvbG9yIjp7IiRyZWYiOiIxMDMifSwiTGluZVdlaWdodCI6MC4wLCJMaW5lVHlwZSI6MCwiUGFyZW50U3R5bGUiOm51bGx9LCJNYXJnaW4iOm51bGwsIlN0YXJ0RGF0ZVBvc2l0aW9uIjo2LCJFbmREYXRlUG9zaXRpb24iOjYsIkRhdGVJc1Zpc2libGUiOmZhbHNlLCJUaXRsZVBvc2l0aW9uIjo0LCJEdXJhdGlvblBvc2l0aW9uIjo2LCJQZXJjZW50YWdlQ29tcGxldGVkUG9zaXRpb24iOjYsIlNwYWNpbmciOjMsIklzQmVsb3dUaW1lYmFuZCI6dHJ1ZSwiUGVyY2VudGFnZUNvbXBsZXRlU2hhcGVPcGFjaXR5IjozNSwiU2hhcGVTdHlsZSI6eyIkaWQiOiI5NDgiLCJNYXJnaW4iOnsiJHJlZiI6IjEwNiJ9LCJQYWRkaW5nIjp7IiRyZWYiOiIxMDcifSwiQmFja2dyb3VuZCI6eyIkaWQiOiI5NDkiLCJDb2xvciI6eyIkaWQiOiI5NTAiLCJBIjoyNTUsIlIiOjExMiwiRyI6MTczLCJCIjo3MX19LCJJc1Zpc2libGUiOnRydWUsIldpZHRoIjowLjAsIkhlaWdodCI6MTAuMCwiQm9yZGVyU3R5bGUiOnsiJGlkIjoiOTUxIiwiTGluZUNvbG9yIjp7IiRpZCI6Ijk1MiIsIiR0eXBlIjoiTkxSRS5Db21tb24uRG9tLlNvbGlkQ29sb3JCcnVzaCwgTkxSRS5Db21tb24iLCJDb2xvciI6eyIkaWQiOiI5NTMiLCJBIjoyNTUsIlIiOjI1NSwiRyI6MCwiQiI6MH19LCJMaW5lV2VpZ2h0IjowLjAsIkxpbmVUeXBlIjowLCJQYXJlbnRTdHlsZSI6bnVsbH0sIlBhcmVudFN0eWxlIjpudWxsfSwiVGl0bGVTdHlsZSI6eyIkaWQiOiI5NTQiLCJGb250U2V0dGluZ3MiOnsiJGlkIjoiOTU1IiwiRm9udFNpemUiOjgsIkZvbnROYW1lIjoiQ2FsaWJyaSIsIklzQm9sZCI6dHJ1ZSwiSXNJdGFsaWMiOmZhbHNlLCJJc1VuZGVybGluZWQiOmZhbHNlLCJQYXJlbnRTdHlsZSI6bnVsbH0sIkF1dG9TaXplIjowLCJGb3JlZ3JvdW5kIjp7IiRpZCI6Ijk1NiIsIkNvbG9yIjp7IiRpZCI6Ijk1NyIsIkEiOjI1NSwiUiI6MCwiRyI6MCwiQiI6MH19LCJNYXhXaWR0aCI6NzIwLjAsIk1heEhlaWdodCI6IkluZmluaXR5IiwiU21hcnRGb3JlZ3JvdW5kSXNBY3RpdmUiOmZhbHNlLCJIb3Jpem9udGFsQWxpZ25tZW50IjowLCJWZXJ0aWNhbEFsaWdubWVudCI6MCwiU21hcnRGb3JlZ3JvdW5kIjpudWxsLCJCYWNrZ3JvdW5kRmlsbFR5cGUiOjAsIk1hcmdpbiI6eyIkcmVmIjoiMTE3In0sIlBhZGRpbmciOnsiJHJlZiI6IjExOCJ9LCJCYWNrZ3JvdW5kIjp7IiRpZCI6Ijk1OCIsIkNvbG9yIjp7IiRpZCI6Ijk1OSIsIkEiOjAsIlIiOjI1NSwiRyI6MjU1LCJCIjoyNTV9fSwiSXNWaXNpYmxlIjp0cnVlLCJXaWR0aCI6MC4wLCJIZWlnaHQiOjAuMCwiQm9yZGVyU3R5bGUiOnsiJGlkIjoiOTYwIiwiTGluZUNvbG9yIjpudWxsLCJMaW5lV2VpZ2h0IjowLjAsIkxpbmVUeXBlIjowLCJQYXJlbnRTdHlsZSI6bnVsbH0sIlBhcmVudFN0eWxlIjpudWxsfSwiRGF0ZVN0eWxlIjp7IiRpZCI6Ijk2MSIsIkZvbnRTZXR0aW5ncyI6eyIkaWQiOiI5NjIiLCJGb250U2l6ZSI6MTAsIkZvbnROYW1lIjoiQ2FsaWJyaSIsIklzQm9sZCI6ZmFsc2UsIklzSXRhbGljIjpmYWxzZSwiSXNVbmRlcmxpbmVkIjpmYWxzZSwiUGFyZW50U3R5bGUiOm51bGx9LCJBdXRvU2l6ZSI6MCwiRm9yZWdyb3VuZCI6eyIkcmVmIjoiMTIyIn0sIk1heFdpZHRoIjoyMDAuMCwiTWF4SGVpZ2h0IjoiSW5maW5pdHkiLCJTbWFydEZvcmVncm91bmRJc0FjdGl2ZSI6ZmFsc2UsIkhvcml6b250YWxBbGlnbm1lbnQiOjAsIlZlcnRpY2FsQWxpZ25tZW50IjowLCJTbWFydEZvcmVncm91bmQiOm51bGwsIkJhY2tncm91bmRGaWxsVHlwZSI6MCwiTWFyZ2luIjp7IiRyZWYiOiIxMjQifSwiUGFkZGluZyI6eyIkcmVmIjoiMTI1In0sIkJhY2tncm91bmQiOnsiJHJlZiI6IjEyNiJ9LCJJc1Zpc2libGUiOnRydWUsIldpZHRoIjowLjAsIkhlaWdodCI6MC4wLCJCb3JkZXJTdHlsZSI6eyIkaWQiOiI5NjMiLCJMaW5lQ29sb3IiOm51bGwsIkxpbmVXZWlnaHQiOjAuMCwiTGluZVR5cGUiOjAsIlBhcmVudFN0eWxlIjpudWxsfSwiUGFyZW50U3R5bGUiOm51bGx9LCJEYXRlRm9ybWF0Ijp7IiRpZCI6Ijk2NCIsIkZvcm1hdFN0cmluZyI6Ik1NTSBkIiwiU2VwYXJhdG9yIjoiLyIsIlVzZUludGVybmF0aW9uYWxEYXRlRm9ybWF0IjpmYWxzZSwiRGF0ZUlzVmlzaWJsZSI6dHJ1ZSwiVGltZUlzVmlzaWJsZSI6ZmFsc2UsIkhvdXJEaWdpdHMiOjEsIkFtUG1EZXNpZ25hdG9yIjoyLCJUcmltMDBNaW51dGVzIjpmYWxzZSwiTGFzdEtub3duVmlzaWJpbGl0eVN0YXRlIjpudWxsfSwiV2Vla051bWJlcmluZyI6eyIkaWQiOiI5NjUiLCJGb3JtYXQiOjAsIklzVmlzaWJsZSI6ZmFsc2UsIkxhc3RLbm93blZpc2liaWxpdHlTdGF0ZSI6ZmFsc2V9LCJJc1Zpc2libGUiOnRydWUsIlBhcmVudFN0eWxlIjpudWxsfSwiSW5kZXgiOjIyLCJTbWFydER1cmF0aW9uQWN0aXZhdGVkIjpmYWxzZSwiRGF0ZUZvcm1hdCI6eyIkcmVmIjoiOTY0In0sIldlZWtOdW1iZXJpbmciOnsiJGlkIjoiOTY2IiwiRm9ybWF0IjowLCJJc1Zpc2libGUiOmZhbHNlLCJMYXN0S25vd25WaXNpYmlsaXR5U3RhdGUiOmZhbHNlfSwiSWQiOiJjMTA1NDVhZS0xMjRiLTQ0NWYtOThlMS0xN2IyODU0ODQ4OTQiLCJJbXBvcnRJZCI6bnVsbCwiVGl0bGUiOiJTNTogRm91cnRoIFZlbmRvciIsIk5vdGUiOm51bGwsIkh5cGVybGluayI6eyIkaWQiOiI5NjciLCJBZGRyZXNzIjoiIiwiU3ViQWRkcmVzcyI6IiJ9LCJJc0NoYW5nZWQiOmZhbHNlLCJJc05ldyI6ZmFsc2V9LCJJbmRleCI6MH0seyIkaWQiOiI5NjgiLCJfYXR0YWNoZWRNaWxlc3RvbmVzIjpbXSwiVGFza0RlZmluaXRpb24iOnsiJGlkIjoiOTY5IiwiR3JvdXBOYW1lIjpudWxsLCJTdGFydERhdGUiOiIyMDIwLTExLTMwVDIzOjU5OjAwWiIsIkVuZERhdGUiOiIyMDIwLTEyLTExVDIzOjU5OjAwWiIsIlBlcmNlbnRhZ2VDb21wbGV0ZSI6bnVsbCwiU3R5bGUiOnsiJGlkIjoiOTcwIiwiU2hhcGUiOjAsIlNoYXBlVGhpY2tuZXNzIjowLCJEdXJhdGlvbkZvcm1hdCI6MCwiSW5jbHVkZU5vbldvcmtpbmdEYXlzSW5EdXJhdGlvbiI6ZmFsc2UsIlBlcmNlbnRhZ2VDb21wbGV0ZVN0eWxlIjp7IiRpZCI6Ijk3MSIsIkZvbnRTZXR0aW5ncyI6eyIkaWQiOiI5NzIiLCJGb250U2l6ZSI6MTAsIkZvbnROYW1lIjoiQ2FsaWJyaSIsIklzQm9sZCI6ZmFsc2UsIklzSXRhbGljIjpmYWxzZSwiSXNVbmRlcmxpbmVkIjpmYWxzZSwiUGFyZW50U3R5bGUiOm51bGx9LCJBdXRvU2l6ZSI6MCwiRm9yZWdyb3VuZCI6eyIkcmVmIjoiODcifSwiTWF4V2lkdGgiOjIwMC4wLCJNYXhIZWlnaHQiOiJJbmZpbml0eSIsIlNtYXJ0Rm9yZWdyb3VuZElzQWN0aXZlIjpmYWxzZSwiSG9yaXpvbnRhbEFsaWdubWVudCI6MCwiVmVydGljYWxBbGlnbm1lbnQiOjAsIlNtYXJ0Rm9yZWdyb3VuZCI6bnVsbCwiQmFja2dyb3VuZEZpbGxUeXBlIjowLCJNYXJnaW4iOnsiJHJlZiI6Ijg5In0sIlBhZGRpbmciOnsiJHJlZiI6IjkwIn0sIkJhY2tncm91bmQiOnsiJHJlZiI6IjkxIn0sIklzVmlzaWJsZSI6dHJ1ZSwiV2lkdGgiOjAuMCwiSGVpZ2h0IjowLjAsIkJvcmRlclN0eWxlIjp7IiRpZCI6Ijk3MyIsIkxpbmVDb2xvciI6bnVsbCwiTGluZVdlaWdodCI6MC4wLCJMaW5lVHlwZSI6MCwiUGFyZW50U3R5bGUiOm51bGx9LCJQYXJlbnRTdHlsZSI6bnVsbH0sIkR1cmF0aW9uU3R5bGUiOnsiJGlkIjoiOTc0IiwiRm9udFNldHRpbmdzIjp7IiRpZCI6Ijk3NSIsIkZvbnRTaXplIjoxMCwiRm9udE5hbWUiOiJDYWxpYnJpIiwiSXNCb2xkIjpmYWxzZSwiSXNJdGFsaWMiOmZhbHNlLCJJc1VuZGVybGluZWQiOmZhbHNlLCJQYXJlbnRTdHlsZSI6bnVsbH0sIkF1dG9TaXplIjowLCJGb3JlZ3JvdW5kIjp7IiRyZWYiOiI5NCJ9LCJNYXhXaWR0aCI6MjAwLjAsIk1heEhlaWdodCI6IkluZmluaXR5IiwiU21hcnRGb3JlZ3JvdW5kSXNBY3RpdmUiOmZhbHNlLCJIb3Jpem9udGFsQWxpZ25tZW50IjowLCJWZXJ0aWNhbEFsaWdubWVudCI6MCwiU21hcnRGb3JlZ3JvdW5kIjpudWxsLCJCYWNrZ3JvdW5kRmlsbFR5cGUiOjAsIk1hcmdpbiI6eyIkcmVmIjoiOTYifSwiUGFkZGluZyI6eyIkcmVmIjoiOTcifSwiQmFja2dyb3VuZCI6eyIkcmVmIjoiOTgifSwiSXNWaXNpYmxlIjp0cnVlLCJXaWR0aCI6MC4wLCJIZWlnaHQiOjAuMCwiQm9yZGVyU3R5bGUiOnsiJGlkIjoiOTc2IiwiTGluZUNvbG9yIjpudWxsLCJMaW5lV2VpZ2h0IjowLjAsIkxpbmVUeXBlIjowLCJQYXJlbnRTdHlsZSI6bnVsbH0sIlBhcmVudFN0eWxlIjpudWxsfSwiSG9yaXpvbnRhbENvbm5lY3RvclN0eWxlIjp7IiRpZCI6Ijk3NyIsIkxpbmVDb2xvciI6eyIkcmVmIjoiMTAwIn0sIkxpbmVXZWlnaHQiOjEuMCwiTGluZVR5cGUiOjAsIlBhcmVudFN0eWxlIjpudWxsfSwiVmVydGljYWxDb25uZWN0b3JTdHlsZSI6eyIkaWQiOiI5NzgiLCJMaW5lQ29sb3IiOnsiJHJlZiI6IjEwMyJ9LCJMaW5lV2VpZ2h0IjowLjAsIkxpbmVUeXBlIjowLCJQYXJlbnRTdHlsZSI6bnVsbH0sIk1hcmdpbiI6bnVsbCwiU3RhcnREYXRlUG9zaXRpb24iOjYsIkVuZERhdGVQb3NpdGlvbiI6NiwiRGF0ZUlzVmlzaWJsZSI6ZmFsc2UsIlRpdGxlUG9zaXRpb24iOjMsIkR1cmF0aW9uUG9zaXRpb24iOjYsIlBlcmNlbnRhZ2VDb21wbGV0ZWRQb3NpdGlvbiI6NiwiU3BhY2luZyI6MywiSXNCZWxvd1RpbWViYW5kIjp0cnVlLCJQZXJjZW50YWdlQ29tcGxldGVTaGFwZU9wYWNpdHkiOjM1LCJTaGFwZVN0eWxlIjp7IiRpZCI6Ijk3OSIsIk1hcmdpbiI6eyIkcmVmIjoiMTA2In0sIlBhZGRpbmciOnsiJHJlZiI6IjEwNyJ9LCJCYWNrZ3JvdW5kIjp7IiRpZCI6Ijk4MCIsIkNvbG9yIjp7IiRpZCI6Ijk4MSIsIkEiOjI1NSwiUiI6MTEyLCJHIjoxNzMsIkIiOjcxfX0sIklzVmlzaWJsZSI6dHJ1ZSwiV2lkdGgiOjAuMCwiSGVpZ2h0IjoxMC4wLCJCb3JkZXJTdHlsZSI6eyIkaWQiOiI5ODIiLCJMaW5lQ29sb3IiOnsiJHJlZiI6Ijg4NiJ9LCJMaW5lV2VpZ2h0IjowLjAsIkxpbmVUeXBlIjowLCJQYXJlbnRTdHlsZSI6bnVsbH0sIlBhcmVudFN0eWxlIjpudWxsfSwiVGl0bGVTdHlsZSI6eyIkaWQiOiI5ODMiLCJGb250U2V0dGluZ3MiOnsiJGlkIjoiOTg0IiwiRm9udFNpemUiOjgsIkZvbnROYW1lIjoiQ2FsaWJyaSIsIklzQm9sZCI6dHJ1ZSwiSXNJdGFsaWMiOmZhbHNlLCJJc1VuZGVybGluZWQiOmZhbHNlLCJQYXJlbnRTdHlsZSI6bnVsbH0sIkF1dG9TaXplIjowLCJGb3JlZ3JvdW5kIjp7IiRpZCI6Ijk4NSIsIkNvbG9yIjp7IiRpZCI6Ijk4NiIsIkEiOjI1NSwiUiI6MCwiRyI6MCwiQiI6MH19LCJNYXhXaWR0aCI6NzIwLjAsIk1heEhlaWdodCI6IkluZmluaXR5IiwiU21hcnRGb3JlZ3JvdW5kSXNBY3RpdmUiOmZhbHNlLCJIb3Jpem9udGFsQWxpZ25tZW50IjoyLCJWZXJ0aWNhbEFsaWdubWVudCI6MCwiU21hcnRGb3JlZ3JvdW5kIjpudWxsLCJCYWNrZ3JvdW5kRmlsbFR5cGUiOjAsIk1hcmdpbiI6eyIkcmVmIjoiMTE3In0sIlBhZGRpbmciOnsiJHJlZiI6IjExOCJ9LCJCYWNrZ3JvdW5kIjp7IiRpZCI6Ijk4NyIsIkNvbG9yIjp7IiRpZCI6Ijk4OCIsIkEiOjAsIlIiOjI1NSwiRyI6MjU1LCJCIjoyNTV9fSwiSXNWaXNpYmxlIjp0cnVlLCJXaWR0aCI6MC4wLCJIZWlnaHQiOjAuMCwiQm9yZGVyU3R5bGUiOnsiJGlkIjoiOTg5IiwiTGluZUNvbG9yIjpudWxsLCJMaW5lV2VpZ2h0IjowLjAsIkxpbmVUeXBlIjowLCJQYXJlbnRTdHlsZSI6bnVsbH0sIlBhcmVudFN0eWxlIjpudWxsfSwiRGF0ZVN0eWxlIjp7IiRpZCI6Ijk5MCIsIkZvbnRTZXR0aW5ncyI6eyIkaWQiOiI5OTEiLCJGb250U2l6ZSI6MTAsIkZvbnROYW1lIjoiQ2FsaWJyaSIsIklzQm9sZCI6ZmFsc2UsIklzSXRhbGljIjpmYWxzZSwiSXNVbmRlcmxpbmVkIjpmYWxzZSwiUGFyZW50U3R5bGUiOm51bGx9LCJBdXRvU2l6ZSI6MCwiRm9yZWdyb3VuZCI6eyIkcmVmIjoiMTIyIn0sIk1heFdpZHRoIjoyMDAuMCwiTWF4SGVpZ2h0IjoiSW5maW5pdHkiLCJTbWFydEZvcmVncm91bmRJc0FjdGl2ZSI6ZmFsc2UsIkhvcml6b250YWxBbGlnbm1lbnQiOjAsIlZlcnRpY2FsQWxpZ25tZW50IjowLCJTbWFydEZvcmVncm91bmQiOm51bGwsIkJhY2tncm91bmRGaWxsVHlwZSI6MCwiTWFyZ2luIjp7IiRyZWYiOiIxMjQifSwiUGFkZGluZyI6eyIkcmVmIjoiMTI1In0sIkJhY2tncm91bmQiOnsiJHJlZiI6IjEyNiJ9LCJJc1Zpc2libGUiOnRydWUsIldpZHRoIjowLjAsIkhlaWdodCI6MC4wLCJCb3JkZXJTdHlsZSI6eyIkaWQiOiI5OTIiLCJMaW5lQ29sb3IiOm51bGwsIkxpbmVXZWlnaHQiOjAuMCwiTGluZVR5cGUiOjAsIlBhcmVudFN0eWxlIjpudWxsfSwiUGFyZW50U3R5bGUiOm51bGx9LCJEYXRlRm9ybWF0Ijp7IiRyZWYiOiI5MDIifSwiV2Vla051bWJlcmluZyI6eyIkaWQiOiI5OTMiLCJGb3JtYXQiOjAsIklzVmlzaWJsZSI6ZmFsc2UsIkxhc3RLbm93blZpc2liaWxpdHlTdGF0ZSI6ZmFsc2V9LCJJc1Zpc2libGUiOnRydWUsIlBhcmVudFN0eWxlIjpudWxsfSwiSW5kZXgiOjIzLCJTbWFydER1cmF0aW9uQWN0aXZhdGVkIjpmYWxzZSwiRGF0ZUZvcm1hdCI6eyIkcmVmIjoiOTAyIn0sIldlZWtOdW1iZXJpbmciOnsiJGlkIjoiOTk0IiwiRm9ybWF0IjowLCJJc1Zpc2libGUiOmZhbHNlLCJMYXN0S25vd25WaXNpYmlsaXR5U3RhdGUiOmZhbHNlfSwiSWQiOiI1OGFlNjg2Ni0yNDFiLTRkNjMtODM1MS00ZGZhZGE5NTJiNzgiLCJJbXBvcnRJZCI6bnVsbCwiVGl0bGUiOiJTNjogVGVzdCBMb2FkIiwiTm90ZSI6bnVsbCwiSHlwZXJsaW5rIjp7IiRpZCI6Ijk5NSIsIkFkZHJlc3MiOiIiLCJTdWJBZGRyZXNzIjoiIn0sIklzQ2hhbmdlZCI6ZmFsc2UsIklzTmV3IjpmYWxzZX0sIkluZGV4IjowfSx7IiRpZCI6Ijk5NiIsIl9hdHRhY2hlZE1pbGVzdG9uZXMiOltdLCJUYXNrRGVmaW5pdGlvbiI6eyIkaWQiOiI5OTciLCJHcm91cE5hbWUiOiIwNWZmNWExNy03ZDhiLTQ2ODMtOTZmZC0yYWJlMzI5NDA3YzgiLCJTdGFydERhdGUiOiIyMDIwLTEyLTE0VDIzOjU5OjAwWiIsIkVuZERhdGUiOiIyMDIxLTAxLTAxVDIzOjU5OjAwWiIsIlBlcmNlbnRhZ2VDb21wbGV0ZSI6bnVsbCwiU3R5bGUiOnsiJGlkIjoiOTk4IiwiU2hhcGUiOjAsIlNoYXBlVGhpY2tuZXNzIjowLCJEdXJhdGlvbkZvcm1hdCI6MCwiSW5jbHVkZU5vbldvcmtpbmdEYXlzSW5EdXJhdGlvbiI6ZmFsc2UsIlBlcmNlbnRhZ2VDb21wbGV0ZVN0eWxlIjp7IiRpZCI6Ijk5OSIsIkZvbnRTZXR0aW5ncyI6eyIkaWQiOiIxMDAwIiwiRm9udFNpemUiOjEwLCJGb250TmFtZSI6IkNhbGlicmkiLCJJc0JvbGQiOmZhbHNlLCJJc0l0YWxpYyI6ZmFsc2UsIklzVW5kZXJsaW5lZCI6ZmFsc2UsIlBhcmVudFN0eWxlIjpudWxsfSwiQXV0b1NpemUiOjAsIkZvcmVncm91bmQiOnsiJHJlZiI6Ijg3In0sIk1heFdpZHRoIjoyMDAuMCwiTWF4SGVpZ2h0IjoiSW5maW5pdHkiLCJTbWFydEZvcmVncm91bmRJc0FjdGl2ZSI6ZmFsc2UsIkhvcml6b250YWxBbGlnbm1lbnQiOjAsIlZlcnRpY2FsQWxpZ25tZW50IjowLCJTbWFydEZvcmVncm91bmQiOm51bGwsIkJhY2tncm91bmRGaWxsVHlwZSI6MCwiTWFyZ2luIjp7IiRyZWYiOiI4OSJ9LCJQYWRkaW5nIjp7IiRyZWYiOiI5MCJ9LCJCYWNrZ3JvdW5kIjp7IiRyZWYiOiI5MSJ9LCJJc1Zpc2libGUiOnRydWUsIldpZHRoIjowLjAsIkhlaWdodCI6MC4wLCJCb3JkZXJTdHlsZSI6eyIkaWQiOiIxMDAxIiwiTGluZUNvbG9yIjpudWxsLCJMaW5lV2VpZ2h0IjowLjAsIkxpbmVUeXBlIjowLCJQYXJlbnRTdHlsZSI6bnVsbH0sIlBhcmVudFN0eWxlIjpudWxsfSwiRHVyYXRpb25TdHlsZSI6eyIkaWQiOiIxMDAyIiwiRm9udFNldHRpbmdzIjp7IiRpZCI6IjEwMDMiLCJGb250U2l6ZSI6MTAsIkZvbnROYW1lIjoiQ2FsaWJyaSIsIklzQm9sZCI6ZmFsc2UsIklzSXRhbGljIjpmYWxzZSwiSXNVbmRlcmxpbmVkIjpmYWxzZSwiUGFyZW50U3R5bGUiOm51bGx9LCJBdXRvU2l6ZSI6MCwiRm9yZWdyb3VuZCI6eyIkcmVmIjoiOTQifSwiTWF4V2lkdGgiOjIwMC4wLCJNYXhIZWlnaHQiOiJJbmZpbml0eSIsIlNtYXJ0Rm9yZWdyb3VuZElzQWN0aXZlIjpmYWxzZSwiSG9yaXpvbnRhbEFsaWdubWVudCI6MCwiVmVydGljYWxBbGlnbm1lbnQiOjAsIlNtYXJ0Rm9yZWdyb3VuZCI6bnVsbCwiQmFja2dyb3VuZEZpbGxUeXBlIjowLCJNYXJnaW4iOnsiJHJlZiI6Ijk2In0sIlBhZGRpbmciOnsiJHJlZiI6Ijk3In0sIkJhY2tncm91bmQiOnsiJHJlZiI6Ijk4In0sIklzVmlzaWJsZSI6dHJ1ZSwiV2lkdGgiOjAuMCwiSGVpZ2h0IjowLjAsIkJvcmRlclN0eWxlIjp7IiRpZCI6IjEwMDQiLCJMaW5lQ29sb3IiOm51bGwsIkxpbmVXZWlnaHQiOjAuMCwiTGluZVR5cGUiOjAsIlBhcmVudFN0eWxlIjpudWxsfSwiUGFyZW50U3R5bGUiOm51bGx9LCJIb3Jpem9udGFsQ29ubmVjdG9yU3R5bGUiOnsiJGlkIjoiMTAwNSIsIkxpbmVDb2xvciI6eyIkcmVmIjoiMTAwIn0sIkxpbmVXZWlnaHQiOjEuMCwiTGluZVR5cGUiOjAsIlBhcmVudFN0eWxlIjpudWxsfSwiVmVydGljYWxDb25uZWN0b3JTdHlsZSI6eyIkaWQiOiIxMDA2IiwiTGluZUNvbG9yIjp7IiRyZWYiOiIxMDMifSwiTGluZVdlaWdodCI6MC4wLCJMaW5lVHlwZSI6MCwiUGFyZW50U3R5bGUiOm51bGx9LCJNYXJnaW4iOm51bGwsIlN0YXJ0RGF0ZVBvc2l0aW9uIjo2LCJFbmREYXRlUG9zaXRpb24iOjYsIkRhdGVJc1Zpc2libGUiOmZhbHNlLCJUaXRsZVBvc2l0aW9uIjozLCJEdXJhdGlvblBvc2l0aW9uIjo2LCJQZXJjZW50YWdlQ29tcGxldGVkUG9zaXRpb24iOjYsIlNwYWNpbmciOjMsIklzQmVsb3dUaW1lYmFuZCI6dHJ1ZSwiUGVyY2VudGFnZUNvbXBsZXRlU2hhcGVPcGFjaXR5IjozNSwiU2hhcGVTdHlsZSI6eyIkaWQiOiIxMDA3IiwiTWFyZ2luIjp7IiRyZWYiOiIxMDYifSwiUGFkZGluZyI6eyIkcmVmIjoiMTA3In0sIkJhY2tncm91bmQiOnsiJGlkIjoiMTAwOCIsIkNvbG9yIjp7IiRpZCI6IjEwMDkiLCJBIjoyNTUsIlIiOjExMiwiRyI6MTczLCJCIjo3MX19LCJJc1Zpc2libGUiOnRydWUsIldpZHRoIjowLjAsIkhlaWdodCI6MTAuMCwiQm9yZGVyU3R5bGUiOnsiJGlkIjoiMTAxMCIsIkxpbmVDb2xvciI6eyIkaWQiOiIxMDExIiwiJHR5cGUiOiJOTFJFLkNvbW1vbi5Eb20uU29saWRDb2xvckJydXNoLCBOTFJFLkNvbW1vbiIsIkNvbG9yIjp7IiRpZCI6IjEwMTIiLCJBIjoyNTUsIlIiOjI1NSwiRyI6MCwiQiI6MH19LCJMaW5lV2VpZ2h0IjowLjAsIkxpbmVUeXBlIjowLCJQYXJlbnRTdHlsZSI6bnVsbH0sIlBhcmVudFN0eWxlIjpudWxsfSwiVGl0bGVTdHlsZSI6eyIkaWQiOiIxMDEzIiwiRm9udFNldHRpbmdzIjp7IiRpZCI6IjEwMTQiLCJGb250U2l6ZSI6OCwiRm9udE5hbWUiOiJDYWxpYnJpIiwiSXNCb2xkIjp0cnVlLCJJc0l0YWxpYyI6ZmFsc2UsIklzVW5kZXJsaW5lZCI6ZmFsc2UsIlBhcmVudFN0eWxlIjpudWxsfSwiQXV0b1NpemUiOjAsIkZvcmVncm91bmQiOnsiJGlkIjoiMTAxNSIsIkNvbG9yIjp7IiRpZCI6IjEwMTYiLCJBIjoyNTUsIlIiOjAsIkciOjAsIkIiOjB9fSwiTWF4V2lkdGgiOjcyMC4wLCJNYXhIZWlnaHQiOiJJbmZpbml0eSIsIlNtYXJ0Rm9yZWdyb3VuZElzQWN0aXZlIjpmYWxzZSwiSG9yaXpvbnRhbEFsaWdubWVudCI6MiwiVmVydGljYWxBbGlnbm1lbnQiOjAsIlNtYXJ0Rm9yZWdyb3VuZCI6bnVsbCwiQmFja2dyb3VuZEZpbGxUeXBlIjowLCJNYXJnaW4iOnsiJHJlZiI6IjExNyJ9LCJQYWRkaW5nIjp7IiRyZWYiOiIxMTgifSwiQmFja2dyb3VuZCI6eyIkaWQiOiIxMDE3IiwiQ29sb3IiOnsiJGlkIjoiMTAxOCIsIkEiOjAsIlIiOjI1NSwiRyI6MjU1LCJCIjoyNTV9fSwiSXNWaXNpYmxlIjp0cnVlLCJXaWR0aCI6MC4wLCJIZWlnaHQiOjAuMCwiQm9yZGVyU3R5bGUiOnsiJGlkIjoiMTAxOSIsIkxpbmVDb2xvciI6bnVsbCwiTGluZVdlaWdodCI6MC4wLCJMaW5lVHlwZSI6MCwiUGFyZW50U3R5bGUiOm51bGx9LCJQYXJlbnRTdHlsZSI6bnVsbH0sIkRhdGVTdHlsZSI6eyIkaWQiOiIxMDIwIiwiRm9udFNldHRpbmdzIjp7IiRpZCI6IjEwMjEiLCJGb250U2l6ZSI6MTAsIkZvbnROYW1lIjoiQ2FsaWJyaSIsIklzQm9sZCI6ZmFsc2UsIklzSXRhbGljIjpmYWxzZSwiSXNVbmRlcmxpbmVkIjpmYWxzZSwiUGFyZW50U3R5bGUiOm51bGx9LCJBdXRvU2l6ZSI6MCwiRm9yZWdyb3VuZCI6eyIkcmVmIjoiMTIyIn0sIk1heFdpZHRoIjoyMDAuMCwiTWF4SGVpZ2h0IjoiSW5maW5pdHkiLCJTbWFydEZvcmVncm91bmRJc0FjdGl2ZSI6ZmFsc2UsIkhvcml6b250YWxBbGlnbm1lbnQiOjAsIlZlcnRpY2FsQWxpZ25tZW50IjowLCJTbWFydEZvcmVncm91bmQiOm51bGwsIkJhY2tncm91bmRGaWxsVHlwZSI6MCwiTWFyZ2luIjp7IiRyZWYiOiIxMjQifSwiUGFkZGluZyI6eyIkcmVmIjoiMTI1In0sIkJhY2tncm91bmQiOnsiJHJlZiI6IjEyNiJ9LCJJc1Zpc2libGUiOnRydWUsIldpZHRoIjowLjAsIkhlaWdodCI6MC4wLCJCb3JkZXJTdHlsZSI6eyIkaWQiOiIxMDIyIiwiTGluZUNvbG9yIjpudWxsLCJMaW5lV2VpZ2h0IjowLjAsIkxpbmVUeXBlIjowLCJQYXJlbnRTdHlsZSI6bnVsbH0sIlBhcmVudFN0eWxlIjpudWxsfSwiRGF0ZUZvcm1hdCI6eyIkaWQiOiIxMDIzIiwiRm9ybWF0U3RyaW5nIjoiTU1NIGQiLCJTZXBhcmF0b3IiOiIvIiwiVXNlSW50ZXJuYXRpb25hbERhdGVGb3JtYXQiOmZhbHNlLCJEYXRlSXNWaXNpYmxlIjp0cnVlLCJUaW1lSXNWaXNpYmxlIjpmYWxzZSwiSG91ckRpZ2l0cyI6MSwiQW1QbURlc2lnbmF0b3IiOjIsIlRyaW0wME1pbnV0ZXMiOmZhbHNlLCJMYXN0S25vd25WaXNpYmlsaXR5U3RhdGUiOm51bGx9LCJXZWVrTnVtYmVyaW5nIjp7IiRpZCI6IjEwMjQiLCJGb3JtYXQiOjAsIklzVmlzaWJsZSI6ZmFsc2UsIkxhc3RLbm93blZpc2liaWxpdHlTdGF0ZSI6ZmFsc2V9LCJJc1Zpc2libGUiOnRydWUsIlBhcmVudFN0eWxlIjpudWxsfSwiSW5kZXgiOjI1LCJTbWFydER1cmF0aW9uQWN0aXZhdGVkIjpmYWxzZSwiRGF0ZUZvcm1hdCI6eyIkcmVmIjoiMTAyMyJ9LCJXZWVrTnVtYmVyaW5nIjp7IiRpZCI6IjEwMjUiLCJGb3JtYXQiOjAsIklzVmlzaWJsZSI6ZmFsc2UsIkxhc3RLbm93blZpc2liaWxpdHlTdGF0ZSI6ZmFsc2V9LCJJZCI6ImFmMmY2NjJmLWY3YzYtNDkwZi1hNTBhLWZjMDNjMjA4MTk2MCIsIkltcG9ydElkIjpudWxsLCJUaXRsZSI6IlM3OiBQcm9kdWN0aW9uIExvYWQiLCJOb3RlIjpudWxsLCJIeXBlcmxpbmsiOnsiJGlkIjoiMTAyNiIsIkFkZHJlc3MiOiIiLCJTdWJBZGRyZXNzIjoiIn0sIklzQ2hhbmdlZCI6ZmFsc2UsIklzTmV3IjpmYWxzZX0sIkluZGV4IjowfV0sIk1pbGVzdG9uZXMiOlt7IiRpZCI6IjEwMjciLCJJZCI6IjA5N2ZlMDM1LTAzMmUtNGNmZS05ZTg5LWQyM2RkZDhkNTBjYyIsIkluZGV4IjoyNCwiR3JvdXBJZCI6IjA1ZmY1YTE3LTdkOGItNDY4My05NmZkLTJhYmUzMjk0MDdjOCIsIlRpdGxlIjoiRmlyc3QgUmVwb3J0cyIsIkRhdGVUaW1lIjoiMjAyMS0wMS0wOFQyMzo1OTowMCIsIlBlcmNlbnRhZ2VDb21wbGV0ZSI6bnVsbCwiTm90ZSI6bnVsbCwiU3R5bGUiOnsiJGlkIjoiMTAyOCIsIlRpdGxlUG9zaXRpb24iOiJSaWdodCIsIkRhdGVQb3NpdGlvbiI6IlJpZ2h0IiwiU2hhcGVUeXBlIjoxLCJTaGFwZVNpemUiOjAsIlNoYXBlU3R5bGUiOnsiJGlkIjoiMTAyOSIsIk1hcmdpbiI6eyIkcmVmIjoiNzIyIn0sIlBhZGRpbmciOnsiJHJlZiI6IjcyMyJ9LCJCYWNrZ3JvdW5kIjp7IiRpZCI6IjEwMzAiLCJDb2xvciI6eyIkaWQiOiIxMDMxIiwiQSI6MjU1LCJSIjoxNiwiRyI6MTA5LCJCIjo0Mn19LCJJc1Zpc2libGUiOnRydWUsIldpZHRoIjoxMi4wLCJIZWlnaHQiOjE0LjAsIkJvcmRlclN0eWxlIjp7IiRpZCI6IjEwMzIiLCJMaW5lQ29sb3IiOnsiJHJlZiI6IjY1In0sIkxpbmVXZWlnaHQiOjAuMCwiTGluZVR5cGUiOjAsIlBhcmVudFN0eWxlIjpudWxsfSwiUGFyZW50U3R5bGUiOm51bGx9LCJUaXRsZVN0eWxlIjp7IiRpZCI6IjEwMzMiLCJGb250U2V0dGluZ3MiOnsiJGlkIjoiMTAzNCIsIkZvbnRTaXplIjo4LCJGb250TmFtZSI6IkNhbGlicmkiLCJJc0JvbGQiOmZhbHNlLCJJc0l0YWxpYyI6ZmFsc2UsIklzVW5kZXJsaW5lZCI6ZmFsc2UsIlBhcmVudFN0eWxlIjpudWxsfSwiQXV0b1NpemUiOjAsIkZvcmVncm91bmQiOnsiJGlkIjoiMTAzNSIsIkNvbG9yIjp7IiRpZCI6IjEwMzYiLCJBIjoyNTUsIlIiOjAsIkciOjAsIkIiOjB9fSwiTWF4V2lkdGgiOjIwMC4wLCJNYXhIZWlnaHQiOiJJbmZpbml0eSIsIlNtYXJ0Rm9yZWdyb3VuZElzQWN0aXZlIjpmYWxzZSwiSG9yaXpvbnRhbEFsaWdubWVudCI6MCwiVmVydGljYWxBbGlnbm1lbnQiOjAsIlNtYXJ0Rm9yZWdyb3VuZCI6bnVsbCwiQmFja2dyb3VuZEZpbGxUeXBlIjowLCJNYXJnaW4iOnsiJHJlZiI6IjczMSJ9LCJQYWRkaW5nIjp7IiRyZWYiOiI3MzIifSwiQmFja2dyb3VuZCI6eyIkaWQiOiIxMDM3IiwiQ29sb3IiOnsiJGlkIjoiMTAzOCIsIkEiOjAsIlIiOjI1NSwiRyI6MjU1LCJCIjoyNTV9fSwiSXNWaXNpYmxlIjp0cnVlLCJXaWR0aCI6MC4wLCJIZWlnaHQiOjAuMCwiQm9yZGVyU3R5bGUiOm51bGwsIlBhcmVudFN0eWxlIjpudWxsfSwiRGF0ZVN0eWxlIjp7IiRpZCI6IjEwMzkiLCJGb250U2V0dGluZ3MiOnsiJGlkIjoiMTA0MCIsIkZvbnRTaXplIjo4LCJGb250TmFtZSI6IkNhbGlicmkiLCJJc0JvbGQiOmZhbHNlLCJJc0l0YWxpYyI6ZmFsc2UsIklzVW5kZXJsaW5lZCI6ZmFsc2UsIlBhcmVudFN0eWxlIjpudWxsfSwiQXV0b1NpemUiOjAsIkZvcmVncm91bmQiOnsiJGlkIjoiMTA0MSIsIkNvbG9yIjp7IiRpZCI6IjEwNDI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3MzkifSwiUGFkZGluZyI6eyIkcmVmIjoiNzQwIn0sIkJhY2tncm91bmQiOnsiJGlkIjoiMTA0MyIsIkNvbG9yIjp7IiRpZCI6IjEwNDQiLCJBIjowLCJSIjoyNTUsIkciOjI1NSwiQiI6MjU1fX0sIklzVmlzaWJsZSI6dHJ1ZSwiV2lkdGgiOjAuMCwiSGVpZ2h0IjowLjAsIkJvcmRlclN0eWxlIjpudWxsLCJQYXJlbnRTdHlsZSI6bnVsbH0sIkRhdGVGb3JtYXQiOnsiJGlkIjoiMTA0NSIsIkZvcm1hdFN0cmluZyI6Ik1NTU0gZCwgeXl5eSIsIlNlcGFyYXRvciI6Ii8iLCJVc2VJbnRlcm5hdGlvbmFsRGF0ZUZvcm1hdCI6ZmFsc2UsIkRhdGVJc1Zpc2libGUiOnRydWUsIlRpbWVJc1Zpc2libGUiOmZhbHNlLCJIb3VyRGlnaXRzIjoxLCJBbVBtRGVzaWduYXRvciI6MiwiVHJpbTAwTWludXRlcyI6ZmFsc2UsIkxhc3RLbm93blZpc2liaWxpdHlTdGF0ZSI6eyIkaWQiOiIxMDQ2IiwiRGF0ZVBhcnRJc1Zpc2libGUiOnRydWUsIlRpbWVQYXJ0SXNWaXNpYmxlIjpmYWxzZX19LCJXZWVrTnVtYmVyaW5nIjp7IiRpZCI6IjEwNDciLCJGb3JtYXQiOjAsIklzVmlzaWJsZSI6ZmFsc2UsIkxhc3RLbm93blZpc2liaWxpdHlTdGF0ZSI6ZmFsc2V9LCJJc1Zpc2libGUiOnRydWUsIlBhcmVudFN0eWxlIjpudWxsfSwiSHlwZXJsaW5rIjpudWxsLCJJbXBvcnRJZCI6bnVsbH1dfV0sIk1zUHJvamVjdEl0ZW1zVHJlZSI6eyIkaWQiOiIxMDQ4IiwiUm9vdCI6eyJJbXBvcnRJZCI6bnVsbCwiSXNJbXBvcnRlZCI6ZmFsc2UsIkNoaWxkcmVuIjpbXX19LCJNZXRhZGF0YSI6eyIkaWQiOiIxMDQ5IiwiUmVjZW50Q29sb3JzQ29sbGVjdGlvbiI6IltcIiNGRjUyOTNDRFwiLFwiI0ZGQ0U5MjAwXCIsXCIjRkY3NEFENDlcIixcIiNGRjczNzM3M1wiLFwiI0ZGNDQ1NDZBXCIsXCIjRkZGRUJBMEFcIixcIiNGRjcwQUQ0N1wiLFwiI0ZGQjIwRTEyXCJdIn0sIlNldHRpbmdzIjp7IiRpZCI6IjEwNTAiLCJJbXBhT3B0aW9ucyI6eyIkaWQiOiIxMDUxIiwiTGVmdFRvUmlnaHQiOmZhbHNlLCJQYXlsb2FkT3B0aW9ucyI6Mn0sIlVzZUNvbXByZXNzaW9uIjpmYWxzZSwiQ29tcHJlc2lvblBlcmNlbnRhZ2UiOjUwLjAsIkluYWN0aXZlSW50ZXJ2YWxXaWR0aFRocmVzaG9sZCI6MzAuMCwiSW5hY3RpdmVJbnRlcnZhbFdpZHRoIjoxLjAsIlNwbGl0VGFza3MiOmZhbHNlLCJVc2VDbHVzdGVyIjpmYWxzZSwiRXBzaWxvbiI6NS4wLCJNaW5Qb2ludHNUb0Zvcm1BQ2x1c3RlciI6MiwiR2VuZXJhdGVJbnZpc2libGVTaGFwZXMiOmZhbHNlLCJTbWFydFRpbWVsaW5lVGFza1BlcmNlbnRhZ2VGaXQiOmZhbHNlfSwiSXNOZXciOmZhbHNlLCJJbXBvcnRUeXBlIjowLCJGaWxlUGF0aCI6bnVsbCwiVGltZUNvbmZpZ3VyYXRpb24iOnsiJGlkIjoiMTA1MiIsIlVzZVRpbWUiOnRydWUsIldvcmtEYXlTdGFydCI6IjAwOjAwOjAwIiwiV29ya0RheUVuZCI6IjIzOjU5OjAwIn0sIkxhc3RVc2VkVGVtcGxhdGVJZCI6ImYzNzQ2MDYzLTAwNGMtNDQ1ZC05MTg3LWNlZGY3YWNlMTQzYiIsIkZpcnN0V2Vla09mWWVhciI6MH0="/>
  <p:tag name="__MASTER" val="__part_0"/>
</p:tagLst>
</file>

<file path=ppt/tags/tag30.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DURATIONFORMAT" val="day"/>
  <p:tag name="OTLSTARTDATE" val="2020-10-19T23:59:00.0000000Z"/>
  <p:tag name="OTLENDDATE" val="2020-10-30T23:59:00.0000000Z"/>
  <p:tag name="OTLSPACING" val="3"/>
  <p:tag name="OTLSHAPETHICKNESSTYPE" val="Thin"/>
  <p:tag name="OTLMARKERSHAPE" val="OTL"/>
</p:tagLst>
</file>

<file path=ppt/tags/tag31.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DURATIONFORMAT" val="day"/>
  <p:tag name="OTLSTARTDATE" val="2020-11-03T23:59:00.0000000"/>
  <p:tag name="OTLENDDATE" val="2020-11-14T23:59:00.0000000"/>
  <p:tag name="OTLSPACING" val="3"/>
  <p:tag name="OTLSHAPETHICKNESSTYPE" val="Thin"/>
  <p:tag name="OTLMARKERSHAPE" val="OTL"/>
</p:tagLst>
</file>

<file path=ppt/tags/tag32.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DURATIONFORMAT" val="day"/>
  <p:tag name="OTLSTARTDATE" val="2020-12-14T23:59:00.0000000Z"/>
  <p:tag name="OTLENDDATE" val="2021-01-01T23:59:00.0000000Z"/>
  <p:tag name="OTLSPACING" val="3"/>
  <p:tag name="OTLSHAPETHICKNESSTYPE" val="Thin"/>
  <p:tag name="OTLMARKERSHAPE" val="OTL"/>
</p:tagLst>
</file>

<file path=ppt/tags/tag33.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DURATIONFORMAT" val="day"/>
  <p:tag name="OTLSTARTDATE" val="2021-01-04T23:59:00.0000000Z"/>
  <p:tag name="OTLENDDATE" val="2021-01-15T23:59:00.0000000Z"/>
  <p:tag name="OTLSPACING" val="3"/>
  <p:tag name="OTLSHAPETHICKNESSTYPE" val="Thin"/>
  <p:tag name="OTLMARKERSHAPE" val="OTL"/>
</p:tagLst>
</file>

<file path=ppt/tags/tag34.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0-11-16T23:59:00.0000000Z"/>
  <p:tag name="OTLENDDATE" val="2020-11-27T23:59:00.0000000Z"/>
  <p:tag name="OTLDURATIONFORMAT" val="day"/>
  <p:tag name="OTLSPACING" val="3"/>
  <p:tag name="OTLSHAPETHICKNESSTYPE" val="Thin"/>
  <p:tag name="OTLMARKERSHAPE" val="OTL"/>
</p:tagLst>
</file>

<file path=ppt/tags/tag35.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0-12-14T23:59:00.0000000Z"/>
  <p:tag name="OTLENDDATE" val="2021-01-01T23:59:00.0000000Z"/>
  <p:tag name="OTLDURATIONFORMAT" val="day"/>
  <p:tag name="OTLSPACING" val="3"/>
  <p:tag name="OTLSHAPETHICKNESSTYPE" val="Thin"/>
  <p:tag name="OTLMARKERSHAPE" val="OTL"/>
</p:tagLst>
</file>

<file path=ppt/tags/tag36.xml><?xml version="1.0" encoding="utf-8"?>
<p:tagLst xmlns:a="http://schemas.openxmlformats.org/drawingml/2006/main" xmlns:r="http://schemas.openxmlformats.org/officeDocument/2006/relationships" xmlns:p="http://schemas.openxmlformats.org/presentationml/2006/main">
  <p:tag name="OTLMARKERSHAPE" val="OTL"/>
</p:tagLst>
</file>

<file path=ppt/tags/tag37.xml><?xml version="1.0" encoding="utf-8"?>
<p:tagLst xmlns:a="http://schemas.openxmlformats.org/drawingml/2006/main" xmlns:r="http://schemas.openxmlformats.org/officeDocument/2006/relationships" xmlns:p="http://schemas.openxmlformats.org/presentationml/2006/main">
  <p:tag name="OTLMARKERSHAPE" val="OTL"/>
</p:tagLst>
</file>

<file path=ppt/tags/tag38.xml><?xml version="1.0" encoding="utf-8"?>
<p:tagLst xmlns:a="http://schemas.openxmlformats.org/drawingml/2006/main" xmlns:r="http://schemas.openxmlformats.org/officeDocument/2006/relationships" xmlns:p="http://schemas.openxmlformats.org/presentationml/2006/main">
  <p:tag name="OTLMARKERSHAPE" val="OTL"/>
</p:tagLst>
</file>

<file path=ppt/tags/tag39.xml><?xml version="1.0" encoding="utf-8"?>
<p:tagLst xmlns:a="http://schemas.openxmlformats.org/drawingml/2006/main" xmlns:r="http://schemas.openxmlformats.org/officeDocument/2006/relationships" xmlns:p="http://schemas.openxmlformats.org/presentationml/2006/main">
  <p:tag name="OTLDATEFORMATSTRING" val="MMMM d, yy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POSITIONONTASK" val="None"/>
  <p:tag name="OTLRELATEDTASKID" val="00000000-0000-0000-0000-000000000000"/>
  <p:tag name="OTLWEEKNUMBERINGFORMAT" val="WNFormat1"/>
  <p:tag name="OTLWEEKNUMBERINGISVISIBLE" val="False"/>
  <p:tag name="OTLDATE" val="2020-11-30T23:59:00.0000000"/>
  <p:tag name="OTLMTITLE" val="Non-Prod Acceptance"/>
  <p:tag name="OTLMARKERSHAPE" val="OTL"/>
</p:tagLst>
</file>

<file path=ppt/tags/tag4.xml><?xml version="1.0" encoding="utf-8"?>
<p:tagLst xmlns:a="http://schemas.openxmlformats.org/drawingml/2006/main" xmlns:r="http://schemas.openxmlformats.org/officeDocument/2006/relationships" xmlns:p="http://schemas.openxmlformats.org/presentationml/2006/main">
  <p:tag name="OTLMARKERSHAPE" val="OTL"/>
</p:tagLst>
</file>

<file path=ppt/tags/tag40.xml><?xml version="1.0" encoding="utf-8"?>
<p:tagLst xmlns:a="http://schemas.openxmlformats.org/drawingml/2006/main" xmlns:r="http://schemas.openxmlformats.org/officeDocument/2006/relationships" xmlns:p="http://schemas.openxmlformats.org/presentationml/2006/main">
  <p:tag name="OTLMARKERSHAPE" val="OTL"/>
</p:tagLst>
</file>

<file path=ppt/tags/tag41.xml><?xml version="1.0" encoding="utf-8"?>
<p:tagLst xmlns:a="http://schemas.openxmlformats.org/drawingml/2006/main" xmlns:r="http://schemas.openxmlformats.org/officeDocument/2006/relationships" xmlns:p="http://schemas.openxmlformats.org/presentationml/2006/main">
  <p:tag name="OTLMARKERSHAPE" val="OTL"/>
</p:tagLst>
</file>

<file path=ppt/tags/tag42.xml><?xml version="1.0" encoding="utf-8"?>
<p:tagLst xmlns:a="http://schemas.openxmlformats.org/drawingml/2006/main" xmlns:r="http://schemas.openxmlformats.org/officeDocument/2006/relationships" xmlns:p="http://schemas.openxmlformats.org/presentationml/2006/main">
  <p:tag name="OTLDATEFORMATSTRING" val="MMMM d, yy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POSITIONONTASK" val="None"/>
  <p:tag name="OTLRELATEDTASKID" val="00000000-0000-0000-0000-000000000000"/>
  <p:tag name="OTLMTITLE" val="Design Approved"/>
  <p:tag name="OTLDATE" val="2020-10-18T23:59:00.0000000"/>
  <p:tag name="OTLMARKERSHAPE" val="OTL"/>
</p:tagLst>
</file>

<file path=ppt/tags/tag43.xml><?xml version="1.0" encoding="utf-8"?>
<p:tagLst xmlns:a="http://schemas.openxmlformats.org/drawingml/2006/main" xmlns:r="http://schemas.openxmlformats.org/officeDocument/2006/relationships" xmlns:p="http://schemas.openxmlformats.org/presentationml/2006/main">
  <p:tag name="OTLMARKERSHAPE" val="OTL"/>
</p:tagLst>
</file>

<file path=ppt/tags/tag44.xml><?xml version="1.0" encoding="utf-8"?>
<p:tagLst xmlns:a="http://schemas.openxmlformats.org/drawingml/2006/main" xmlns:r="http://schemas.openxmlformats.org/officeDocument/2006/relationships" xmlns:p="http://schemas.openxmlformats.org/presentationml/2006/main">
  <p:tag name="OTLDATEFORMATSTRING" val="MMMM d, yy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MTITLE" val="Project Plan Approved"/>
  <p:tag name="OTLDATE" val="2020-10-05T23:59:00.0000000Z"/>
  <p:tag name="OTLPOSITIONONTASK" val="None"/>
  <p:tag name="OTLRELATEDTASKID" val="00000000-0000-0000-0000-000000000000"/>
  <p:tag name="OTLMARKERSHAPE" val="OTL"/>
</p:tagLst>
</file>

<file path=ppt/tags/tag45.xml><?xml version="1.0" encoding="utf-8"?>
<p:tagLst xmlns:a="http://schemas.openxmlformats.org/drawingml/2006/main" xmlns:r="http://schemas.openxmlformats.org/officeDocument/2006/relationships" xmlns:p="http://schemas.openxmlformats.org/presentationml/2006/main">
  <p:tag name="OTLELAPSEDSTYLE" val="Hide"/>
  <p:tag name="OTLMARKERSHAPE" val="OTL"/>
</p:tagLst>
</file>

<file path=ppt/tags/tag46.xml><?xml version="1.0" encoding="utf-8"?>
<p:tagLst xmlns:a="http://schemas.openxmlformats.org/drawingml/2006/main" xmlns:r="http://schemas.openxmlformats.org/officeDocument/2006/relationships" xmlns:p="http://schemas.openxmlformats.org/presentationml/2006/main">
  <p:tag name="OTLMARKERSHAPE" val="OTL"/>
</p:tagLst>
</file>

<file path=ppt/tags/tag47.xml><?xml version="1.0" encoding="utf-8"?>
<p:tagLst xmlns:a="http://schemas.openxmlformats.org/drawingml/2006/main" xmlns:r="http://schemas.openxmlformats.org/officeDocument/2006/relationships" xmlns:p="http://schemas.openxmlformats.org/presentationml/2006/main">
  <p:tag name="OTLMARKERSHAPE" val="OTL"/>
</p:tagLst>
</file>

<file path=ppt/tags/tag48.xml><?xml version="1.0" encoding="utf-8"?>
<p:tagLst xmlns:a="http://schemas.openxmlformats.org/drawingml/2006/main" xmlns:r="http://schemas.openxmlformats.org/officeDocument/2006/relationships" xmlns:p="http://schemas.openxmlformats.org/presentationml/2006/main">
  <p:tag name="OTLMARKERSHAPE" val="OTL"/>
</p:tagLst>
</file>

<file path=ppt/tags/tag49.xml><?xml version="1.0" encoding="utf-8"?>
<p:tagLst xmlns:a="http://schemas.openxmlformats.org/drawingml/2006/main" xmlns:r="http://schemas.openxmlformats.org/officeDocument/2006/relationships" xmlns:p="http://schemas.openxmlformats.org/presentationml/2006/main">
  <p:tag name="OTLMARKERSHAPE" val="OTL"/>
</p:tagLst>
</file>

<file path=ppt/tags/tag5.xml><?xml version="1.0" encoding="utf-8"?>
<p:tagLst xmlns:a="http://schemas.openxmlformats.org/drawingml/2006/main" xmlns:r="http://schemas.openxmlformats.org/officeDocument/2006/relationships" xmlns:p="http://schemas.openxmlformats.org/presentationml/2006/main">
  <p:tag name="OTLMARKERSHAPE" val="OTL"/>
</p:tagLst>
</file>

<file path=ppt/tags/tag50.xml><?xml version="1.0" encoding="utf-8"?>
<p:tagLst xmlns:a="http://schemas.openxmlformats.org/drawingml/2006/main" xmlns:r="http://schemas.openxmlformats.org/officeDocument/2006/relationships" xmlns:p="http://schemas.openxmlformats.org/presentationml/2006/main">
  <p:tag name="OTLMARKERSHAPE" val="OTL"/>
</p:tagLst>
</file>

<file path=ppt/tags/tag51.xml><?xml version="1.0" encoding="utf-8"?>
<p:tagLst xmlns:a="http://schemas.openxmlformats.org/drawingml/2006/main" xmlns:r="http://schemas.openxmlformats.org/officeDocument/2006/relationships" xmlns:p="http://schemas.openxmlformats.org/presentationml/2006/main">
  <p:tag name="OTLDATEFORMATSTRING" val="MMMM d, yy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POSITIONONTASK" val="None"/>
  <p:tag name="OTLRELATEDTASKID" val="00000000-0000-0000-0000-000000000000"/>
  <p:tag name="OTLMTITLE" val="First Reports"/>
  <p:tag name="OTLDATE" val="2021-01-08T23:59:00.0000000"/>
  <p:tag name="OTLMARKERSHAPE" val="OTL"/>
</p:tagLst>
</file>

<file path=ppt/tags/tag52.xml><?xml version="1.0" encoding="utf-8"?>
<p:tagLst xmlns:a="http://schemas.openxmlformats.org/drawingml/2006/main" xmlns:r="http://schemas.openxmlformats.org/officeDocument/2006/relationships" xmlns:p="http://schemas.openxmlformats.org/presentationml/2006/main">
  <p:tag name="OTLMARKERSHAPE" val="OTL"/>
</p:tagLst>
</file>

<file path=ppt/tags/tag53.xml><?xml version="1.0" encoding="utf-8"?>
<p:tagLst xmlns:a="http://schemas.openxmlformats.org/drawingml/2006/main" xmlns:r="http://schemas.openxmlformats.org/officeDocument/2006/relationships" xmlns:p="http://schemas.openxmlformats.org/presentationml/2006/main">
  <p:tag name="OTLMARKERSHAPE" val="OTL"/>
</p:tagLst>
</file>

<file path=ppt/tags/tag54.xml><?xml version="1.0" encoding="utf-8"?>
<p:tagLst xmlns:a="http://schemas.openxmlformats.org/drawingml/2006/main" xmlns:r="http://schemas.openxmlformats.org/officeDocument/2006/relationships" xmlns:p="http://schemas.openxmlformats.org/presentationml/2006/main">
  <p:tag name="OTLDATEFORMATSTRING" val="MMMM d, yy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MTITLE" val="Ready for Pilot"/>
  <p:tag name="OTLDATE" val="2021-01-04T23:59:00.0000000"/>
  <p:tag name="OTLPOSITIONONTASK" val="None"/>
  <p:tag name="OTLRELATEDTASKID" val="00000000-0000-0000-0000-000000000000"/>
  <p:tag name="OTLMARKERSHAPE" val="OTL"/>
</p:tagLst>
</file>

<file path=ppt/tags/tag55.xml><?xml version="1.0" encoding="utf-8"?>
<p:tagLst xmlns:a="http://schemas.openxmlformats.org/drawingml/2006/main" xmlns:r="http://schemas.openxmlformats.org/officeDocument/2006/relationships" xmlns:p="http://schemas.openxmlformats.org/presentationml/2006/main">
  <p:tag name="OTLDATEFORMATSTRING" val="MMMM d, yy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MTITLE" val="Production Acceptance"/>
  <p:tag name="OTLDATE" val="2021-01-22T23:59:00.0000000"/>
  <p:tag name="OTLPOSITIONONTASK" val="None"/>
  <p:tag name="OTLRELATEDTASKID" val="00000000-0000-0000-0000-000000000000"/>
  <p:tag name="OTLMARKERSHAPE" val="OTL"/>
</p:tagLst>
</file>

<file path=ppt/tags/tag56.xml><?xml version="1.0" encoding="utf-8"?>
<p:tagLst xmlns:a="http://schemas.openxmlformats.org/drawingml/2006/main" xmlns:r="http://schemas.openxmlformats.org/officeDocument/2006/relationships" xmlns:p="http://schemas.openxmlformats.org/presentationml/2006/main">
  <p:tag name="OTLMARKERSHAPE" val="OTL"/>
</p:tagLst>
</file>

<file path=ppt/tags/tag57.xml><?xml version="1.0" encoding="utf-8"?>
<p:tagLst xmlns:a="http://schemas.openxmlformats.org/drawingml/2006/main" xmlns:r="http://schemas.openxmlformats.org/officeDocument/2006/relationships" xmlns:p="http://schemas.openxmlformats.org/presentationml/2006/main">
  <p:tag name="OTLMARKERSHAPE" val="OTL"/>
</p:tagLst>
</file>

<file path=ppt/tags/tag58.xml><?xml version="1.0" encoding="utf-8"?>
<p:tagLst xmlns:a="http://schemas.openxmlformats.org/drawingml/2006/main" xmlns:r="http://schemas.openxmlformats.org/officeDocument/2006/relationships" xmlns:p="http://schemas.openxmlformats.org/presentationml/2006/main">
  <p:tag name="OTLMARKERSHAPE" val="OTL"/>
</p:tagLst>
</file>

<file path=ppt/tags/tag59.xml><?xml version="1.0" encoding="utf-8"?>
<p:tagLst xmlns:a="http://schemas.openxmlformats.org/drawingml/2006/main" xmlns:r="http://schemas.openxmlformats.org/officeDocument/2006/relationships" xmlns:p="http://schemas.openxmlformats.org/presentationml/2006/main">
  <p:tag name="OTLMARKERSHAPE" val="OTL"/>
</p:tagLst>
</file>

<file path=ppt/tags/tag6.xml><?xml version="1.0" encoding="utf-8"?>
<p:tagLst xmlns:a="http://schemas.openxmlformats.org/drawingml/2006/main" xmlns:r="http://schemas.openxmlformats.org/officeDocument/2006/relationships" xmlns:p="http://schemas.openxmlformats.org/presentationml/2006/main">
  <p:tag name="OTLMARKERSHAPE" val="OTL"/>
</p:tagLst>
</file>

<file path=ppt/tags/tag60.xml><?xml version="1.0" encoding="utf-8"?>
<p:tagLst xmlns:a="http://schemas.openxmlformats.org/drawingml/2006/main" xmlns:r="http://schemas.openxmlformats.org/officeDocument/2006/relationships" xmlns:p="http://schemas.openxmlformats.org/presentationml/2006/main">
  <p:tag name="OTLMARKERSHAPE" val="OTL"/>
</p:tagLst>
</file>

<file path=ppt/tags/tag61.xml><?xml version="1.0" encoding="utf-8"?>
<p:tagLst xmlns:a="http://schemas.openxmlformats.org/drawingml/2006/main" xmlns:r="http://schemas.openxmlformats.org/officeDocument/2006/relationships" xmlns:p="http://schemas.openxmlformats.org/presentationml/2006/main">
  <p:tag name="OTLTODAYPOSITION" val="Hide"/>
  <p:tag name="OTLMARKERSHAPE" val="OTL"/>
</p:tagLst>
</file>

<file path=ppt/tags/tag62.xml><?xml version="1.0" encoding="utf-8"?>
<p:tagLst xmlns:a="http://schemas.openxmlformats.org/drawingml/2006/main" xmlns:r="http://schemas.openxmlformats.org/officeDocument/2006/relationships" xmlns:p="http://schemas.openxmlformats.org/presentationml/2006/main">
  <p:tag name="OTLMARKERSHAPE" val="OTL"/>
</p:tagLst>
</file>

<file path=ppt/tags/tag63.xml><?xml version="1.0" encoding="utf-8"?>
<p:tagLst xmlns:a="http://schemas.openxmlformats.org/drawingml/2006/main" xmlns:r="http://schemas.openxmlformats.org/officeDocument/2006/relationships" xmlns:p="http://schemas.openxmlformats.org/presentationml/2006/main">
  <p:tag name="OTLMARKERSHAPE" val="OTL"/>
</p:tagLst>
</file>

<file path=ppt/tags/tag64.xml><?xml version="1.0" encoding="utf-8"?>
<p:tagLst xmlns:a="http://schemas.openxmlformats.org/drawingml/2006/main" xmlns:r="http://schemas.openxmlformats.org/officeDocument/2006/relationships" xmlns:p="http://schemas.openxmlformats.org/presentationml/2006/main">
  <p:tag name="OTLMARKERSHAPE" val="OTL"/>
</p:tagLst>
</file>

<file path=ppt/tags/tag65.xml><?xml version="1.0" encoding="utf-8"?>
<p:tagLst xmlns:a="http://schemas.openxmlformats.org/drawingml/2006/main" xmlns:r="http://schemas.openxmlformats.org/officeDocument/2006/relationships" xmlns:p="http://schemas.openxmlformats.org/presentationml/2006/main">
  <p:tag name="OTLMARKERSHAPE" val="OTL"/>
</p:tagLst>
</file>

<file path=ppt/tags/tag66.xml><?xml version="1.0" encoding="utf-8"?>
<p:tagLst xmlns:a="http://schemas.openxmlformats.org/drawingml/2006/main" xmlns:r="http://schemas.openxmlformats.org/officeDocument/2006/relationships" xmlns:p="http://schemas.openxmlformats.org/presentationml/2006/main">
  <p:tag name="OTLMARKERSHAPE" val="OTL"/>
</p:tagLst>
</file>

<file path=ppt/tags/tag67.xml><?xml version="1.0" encoding="utf-8"?>
<p:tagLst xmlns:a="http://schemas.openxmlformats.org/drawingml/2006/main" xmlns:r="http://schemas.openxmlformats.org/officeDocument/2006/relationships" xmlns:p="http://schemas.openxmlformats.org/presentationml/2006/main">
  <p:tag name="OTLMARKERSHAPE" val="OTL"/>
</p:tagLst>
</file>

<file path=ppt/tags/tag68.xml><?xml version="1.0" encoding="utf-8"?>
<p:tagLst xmlns:a="http://schemas.openxmlformats.org/drawingml/2006/main" xmlns:r="http://schemas.openxmlformats.org/officeDocument/2006/relationships" xmlns:p="http://schemas.openxmlformats.org/presentationml/2006/main">
  <p:tag name="OTLMARKERSHAPE" val="OTL"/>
</p:tagLst>
</file>

<file path=ppt/tags/tag69.xml><?xml version="1.0" encoding="utf-8"?>
<p:tagLst xmlns:a="http://schemas.openxmlformats.org/drawingml/2006/main" xmlns:r="http://schemas.openxmlformats.org/officeDocument/2006/relationships" xmlns:p="http://schemas.openxmlformats.org/presentationml/2006/main">
  <p:tag name="OTLMARKERSHAPE" val="OTL"/>
</p:tagLst>
</file>

<file path=ppt/tags/tag7.xml><?xml version="1.0" encoding="utf-8"?>
<p:tagLst xmlns:a="http://schemas.openxmlformats.org/drawingml/2006/main" xmlns:r="http://schemas.openxmlformats.org/officeDocument/2006/relationships" xmlns:p="http://schemas.openxmlformats.org/presentationml/2006/main">
  <p:tag name="OTLMARKERSHAPE" val="OTL"/>
</p:tagLst>
</file>

<file path=ppt/tags/tag70.xml><?xml version="1.0" encoding="utf-8"?>
<p:tagLst xmlns:a="http://schemas.openxmlformats.org/drawingml/2006/main" xmlns:r="http://schemas.openxmlformats.org/officeDocument/2006/relationships" xmlns:p="http://schemas.openxmlformats.org/presentationml/2006/main">
  <p:tag name="OTLMARKERSHAPE" val="OTL"/>
</p:tagLst>
</file>

<file path=ppt/tags/tag71.xml><?xml version="1.0" encoding="utf-8"?>
<p:tagLst xmlns:a="http://schemas.openxmlformats.org/drawingml/2006/main" xmlns:r="http://schemas.openxmlformats.org/officeDocument/2006/relationships" xmlns:p="http://schemas.openxmlformats.org/presentationml/2006/main">
  <p:tag name="OTLMARKERSHAPE" val="OTL"/>
</p:tagLst>
</file>

<file path=ppt/tags/tag72.xml><?xml version="1.0" encoding="utf-8"?>
<p:tagLst xmlns:a="http://schemas.openxmlformats.org/drawingml/2006/main" xmlns:r="http://schemas.openxmlformats.org/officeDocument/2006/relationships" xmlns:p="http://schemas.openxmlformats.org/presentationml/2006/main">
  <p:tag name="OTLMARKERSHAPE" val="OTL"/>
</p:tagLst>
</file>

<file path=ppt/tags/tag73.xml><?xml version="1.0" encoding="utf-8"?>
<p:tagLst xmlns:a="http://schemas.openxmlformats.org/drawingml/2006/main" xmlns:r="http://schemas.openxmlformats.org/officeDocument/2006/relationships" xmlns:p="http://schemas.openxmlformats.org/presentationml/2006/main">
  <p:tag name="OTLMARKERSHAPE" val="OTL"/>
</p:tagLst>
</file>

<file path=ppt/tags/tag74.xml><?xml version="1.0" encoding="utf-8"?>
<p:tagLst xmlns:a="http://schemas.openxmlformats.org/drawingml/2006/main" xmlns:r="http://schemas.openxmlformats.org/officeDocument/2006/relationships" xmlns:p="http://schemas.openxmlformats.org/presentationml/2006/main">
  <p:tag name="OTLMARKERSHAPE" val="OTL"/>
</p:tagLst>
</file>

<file path=ppt/tags/tag75.xml><?xml version="1.0" encoding="utf-8"?>
<p:tagLst xmlns:a="http://schemas.openxmlformats.org/drawingml/2006/main" xmlns:r="http://schemas.openxmlformats.org/officeDocument/2006/relationships" xmlns:p="http://schemas.openxmlformats.org/presentationml/2006/main">
  <p:tag name="OTLMARKERSHAPE" val="OTL"/>
</p:tagLst>
</file>

<file path=ppt/tags/tag76.xml><?xml version="1.0" encoding="utf-8"?>
<p:tagLst xmlns:a="http://schemas.openxmlformats.org/drawingml/2006/main" xmlns:r="http://schemas.openxmlformats.org/officeDocument/2006/relationships" xmlns:p="http://schemas.openxmlformats.org/presentationml/2006/main">
  <p:tag name="OTLMARKERSHAPE" val="OTL"/>
</p:tagLst>
</file>

<file path=ppt/tags/tag77.xml><?xml version="1.0" encoding="utf-8"?>
<p:tagLst xmlns:a="http://schemas.openxmlformats.org/drawingml/2006/main" xmlns:r="http://schemas.openxmlformats.org/officeDocument/2006/relationships" xmlns:p="http://schemas.openxmlformats.org/presentationml/2006/main">
  <p:tag name="OTLMARKERSHAPE" val="OTL"/>
</p:tagLst>
</file>

<file path=ppt/tags/tag78.xml><?xml version="1.0" encoding="utf-8"?>
<p:tagLst xmlns:a="http://schemas.openxmlformats.org/drawingml/2006/main" xmlns:r="http://schemas.openxmlformats.org/officeDocument/2006/relationships" xmlns:p="http://schemas.openxmlformats.org/presentationml/2006/main">
  <p:tag name="OTLMARKERSHAPE" val="OTL"/>
</p:tagLst>
</file>

<file path=ppt/tags/tag79.xml><?xml version="1.0" encoding="utf-8"?>
<p:tagLst xmlns:a="http://schemas.openxmlformats.org/drawingml/2006/main" xmlns:r="http://schemas.openxmlformats.org/officeDocument/2006/relationships" xmlns:p="http://schemas.openxmlformats.org/presentationml/2006/main">
  <p:tag name="OTLMARKERSHAPE" val="OTL"/>
</p:tagLst>
</file>

<file path=ppt/tags/tag8.xml><?xml version="1.0" encoding="utf-8"?>
<p:tagLst xmlns:a="http://schemas.openxmlformats.org/drawingml/2006/main" xmlns:r="http://schemas.openxmlformats.org/officeDocument/2006/relationships" xmlns:p="http://schemas.openxmlformats.org/presentationml/2006/main">
  <p:tag name="OTLMARKERSHAPE" val="OTL"/>
</p:tagLst>
</file>

<file path=ppt/tags/tag80.xml><?xml version="1.0" encoding="utf-8"?>
<p:tagLst xmlns:a="http://schemas.openxmlformats.org/drawingml/2006/main" xmlns:r="http://schemas.openxmlformats.org/officeDocument/2006/relationships" xmlns:p="http://schemas.openxmlformats.org/presentationml/2006/main">
  <p:tag name="OTLMARKERSHAPE" val="OTL"/>
</p:tagLst>
</file>

<file path=ppt/tags/tag81.xml><?xml version="1.0" encoding="utf-8"?>
<p:tagLst xmlns:a="http://schemas.openxmlformats.org/drawingml/2006/main" xmlns:r="http://schemas.openxmlformats.org/officeDocument/2006/relationships" xmlns:p="http://schemas.openxmlformats.org/presentationml/2006/main">
  <p:tag name="OTLMARKERSHAPE" val="OTL"/>
</p:tagLst>
</file>

<file path=ppt/tags/tag82.xml><?xml version="1.0" encoding="utf-8"?>
<p:tagLst xmlns:a="http://schemas.openxmlformats.org/drawingml/2006/main" xmlns:r="http://schemas.openxmlformats.org/officeDocument/2006/relationships" xmlns:p="http://schemas.openxmlformats.org/presentationml/2006/main">
  <p:tag name="OTLMARKERSHAPE" val="OTL"/>
</p:tagLst>
</file>

<file path=ppt/tags/tag83.xml><?xml version="1.0" encoding="utf-8"?>
<p:tagLst xmlns:a="http://schemas.openxmlformats.org/drawingml/2006/main" xmlns:r="http://schemas.openxmlformats.org/officeDocument/2006/relationships" xmlns:p="http://schemas.openxmlformats.org/presentationml/2006/main">
  <p:tag name="OTLMARKERSHAPE" val="OTL"/>
</p:tagLst>
</file>

<file path=ppt/tags/tag84.xml><?xml version="1.0" encoding="utf-8"?>
<p:tagLst xmlns:a="http://schemas.openxmlformats.org/drawingml/2006/main" xmlns:r="http://schemas.openxmlformats.org/officeDocument/2006/relationships" xmlns:p="http://schemas.openxmlformats.org/presentationml/2006/main">
  <p:tag name="OTLMARKERSHAPE" val="OTL"/>
</p:tagLst>
</file>

<file path=ppt/tags/tag85.xml><?xml version="1.0" encoding="utf-8"?>
<p:tagLst xmlns:a="http://schemas.openxmlformats.org/drawingml/2006/main" xmlns:r="http://schemas.openxmlformats.org/officeDocument/2006/relationships" xmlns:p="http://schemas.openxmlformats.org/presentationml/2006/main">
  <p:tag name="OTLMARKERSHAPE" val="OTL"/>
</p:tagLst>
</file>

<file path=ppt/tags/tag86.xml><?xml version="1.0" encoding="utf-8"?>
<p:tagLst xmlns:a="http://schemas.openxmlformats.org/drawingml/2006/main" xmlns:r="http://schemas.openxmlformats.org/officeDocument/2006/relationships" xmlns:p="http://schemas.openxmlformats.org/presentationml/2006/main">
  <p:tag name="OTLMARKERSHAPE" val="OTL"/>
</p:tagLst>
</file>

<file path=ppt/tags/tag87.xml><?xml version="1.0" encoding="utf-8"?>
<p:tagLst xmlns:a="http://schemas.openxmlformats.org/drawingml/2006/main" xmlns:r="http://schemas.openxmlformats.org/officeDocument/2006/relationships" xmlns:p="http://schemas.openxmlformats.org/presentationml/2006/main">
  <p:tag name="OTLMARKERSHAPE" val="OTL"/>
</p:tagLst>
</file>

<file path=ppt/tags/tag88.xml><?xml version="1.0" encoding="utf-8"?>
<p:tagLst xmlns:a="http://schemas.openxmlformats.org/drawingml/2006/main" xmlns:r="http://schemas.openxmlformats.org/officeDocument/2006/relationships" xmlns:p="http://schemas.openxmlformats.org/presentationml/2006/main">
  <p:tag name="OTLMARKERSHAPE" val="OTL"/>
</p:tagLst>
</file>

<file path=ppt/tags/tag89.xml><?xml version="1.0" encoding="utf-8"?>
<p:tagLst xmlns:a="http://schemas.openxmlformats.org/drawingml/2006/main" xmlns:r="http://schemas.openxmlformats.org/officeDocument/2006/relationships" xmlns:p="http://schemas.openxmlformats.org/presentationml/2006/main">
  <p:tag name="OTLMARKERSHAPE" val="OTL"/>
</p:tagLst>
</file>

<file path=ppt/tags/tag9.xml><?xml version="1.0" encoding="utf-8"?>
<p:tagLst xmlns:a="http://schemas.openxmlformats.org/drawingml/2006/main" xmlns:r="http://schemas.openxmlformats.org/officeDocument/2006/relationships" xmlns:p="http://schemas.openxmlformats.org/presentationml/2006/main">
  <p:tag name="OTLMARKERSHAPE" val="OTL"/>
</p:tagLst>
</file>

<file path=ppt/tags/tag90.xml><?xml version="1.0" encoding="utf-8"?>
<p:tagLst xmlns:a="http://schemas.openxmlformats.org/drawingml/2006/main" xmlns:r="http://schemas.openxmlformats.org/officeDocument/2006/relationships" xmlns:p="http://schemas.openxmlformats.org/presentationml/2006/main">
  <p:tag name="OTLMARKERSHAPE" val="OTL"/>
</p:tagLst>
</file>

<file path=ppt/tags/tag91.xml><?xml version="1.0" encoding="utf-8"?>
<p:tagLst xmlns:a="http://schemas.openxmlformats.org/drawingml/2006/main" xmlns:r="http://schemas.openxmlformats.org/officeDocument/2006/relationships" xmlns:p="http://schemas.openxmlformats.org/presentationml/2006/main">
  <p:tag name="OTLMARKERSHAPE" val="OTL"/>
</p:tagLst>
</file>

<file path=ppt/tags/tag92.xml><?xml version="1.0" encoding="utf-8"?>
<p:tagLst xmlns:a="http://schemas.openxmlformats.org/drawingml/2006/main" xmlns:r="http://schemas.openxmlformats.org/officeDocument/2006/relationships" xmlns:p="http://schemas.openxmlformats.org/presentationml/2006/main">
  <p:tag name="OTLMARKERSHAPE" val="OTL"/>
</p:tagLst>
</file>

<file path=ppt/tags/tag93.xml><?xml version="1.0" encoding="utf-8"?>
<p:tagLst xmlns:a="http://schemas.openxmlformats.org/drawingml/2006/main" xmlns:r="http://schemas.openxmlformats.org/officeDocument/2006/relationships" xmlns:p="http://schemas.openxmlformats.org/presentationml/2006/main">
  <p:tag name="OTLMARKERSHAPE" val="OTL"/>
</p:tagLst>
</file>

<file path=ppt/tags/tag94.xml><?xml version="1.0" encoding="utf-8"?>
<p:tagLst xmlns:a="http://schemas.openxmlformats.org/drawingml/2006/main" xmlns:r="http://schemas.openxmlformats.org/officeDocument/2006/relationships" xmlns:p="http://schemas.openxmlformats.org/presentationml/2006/main">
  <p:tag name="OTLMARKERSHAPE" val="OTL"/>
</p:tagLst>
</file>

<file path=ppt/tags/tag95.xml><?xml version="1.0" encoding="utf-8"?>
<p:tagLst xmlns:a="http://schemas.openxmlformats.org/drawingml/2006/main" xmlns:r="http://schemas.openxmlformats.org/officeDocument/2006/relationships" xmlns:p="http://schemas.openxmlformats.org/presentationml/2006/main">
  <p:tag name="OTLMARKERSHAPE" val="OTL"/>
</p:tagLst>
</file>

<file path=ppt/tags/tag96.xml><?xml version="1.0" encoding="utf-8"?>
<p:tagLst xmlns:a="http://schemas.openxmlformats.org/drawingml/2006/main" xmlns:r="http://schemas.openxmlformats.org/officeDocument/2006/relationships" xmlns:p="http://schemas.openxmlformats.org/presentationml/2006/main">
  <p:tag name="OTLMARKERSHAPE" val="OTL"/>
</p:tagLst>
</file>

<file path=ppt/tags/tag97.xml><?xml version="1.0" encoding="utf-8"?>
<p:tagLst xmlns:a="http://schemas.openxmlformats.org/drawingml/2006/main" xmlns:r="http://schemas.openxmlformats.org/officeDocument/2006/relationships" xmlns:p="http://schemas.openxmlformats.org/presentationml/2006/main">
  <p:tag name="OTLMARKERSHAPE" val="OTL"/>
</p:tagLst>
</file>

<file path=ppt/tags/tag98.xml><?xml version="1.0" encoding="utf-8"?>
<p:tagLst xmlns:a="http://schemas.openxmlformats.org/drawingml/2006/main" xmlns:r="http://schemas.openxmlformats.org/officeDocument/2006/relationships" xmlns:p="http://schemas.openxmlformats.org/presentationml/2006/main">
  <p:tag name="OTLMARKERSHAPE" val="OTL"/>
</p:tagLst>
</file>

<file path=ppt/tags/tag99.xml><?xml version="1.0" encoding="utf-8"?>
<p:tagLst xmlns:a="http://schemas.openxmlformats.org/drawingml/2006/main" xmlns:r="http://schemas.openxmlformats.org/officeDocument/2006/relationships" xmlns:p="http://schemas.openxmlformats.org/presentationml/2006/main">
  <p:tag name="OTLMARKERSHAPE" val="OTL"/>
</p:tagLst>
</file>

<file path=ppt/theme/theme1.xml><?xml version="1.0" encoding="utf-8"?>
<a:theme xmlns:a="http://schemas.openxmlformats.org/drawingml/2006/main" name="Office Theme">
  <a:themeElements>
    <a:clrScheme name="Crayon">
      <a:dk1>
        <a:sysClr val="windowText" lastClr="000000"/>
      </a:dk1>
      <a:lt1>
        <a:sysClr val="window" lastClr="FFFFFF"/>
      </a:lt1>
      <a:dk2>
        <a:srgbClr val="44546A"/>
      </a:dk2>
      <a:lt2>
        <a:srgbClr val="E7E6E6"/>
      </a:lt2>
      <a:accent1>
        <a:srgbClr val="FF6B4D"/>
      </a:accent1>
      <a:accent2>
        <a:srgbClr val="0C222C"/>
      </a:accent2>
      <a:accent3>
        <a:srgbClr val="0A4F5C"/>
      </a:accent3>
      <a:accent4>
        <a:srgbClr val="F92900"/>
      </a:accent4>
      <a:accent5>
        <a:srgbClr val="246685"/>
      </a:accent5>
      <a:accent6>
        <a:srgbClr val="073B45"/>
      </a:accent6>
      <a:hlink>
        <a:srgbClr val="0563C1"/>
      </a:hlink>
      <a:folHlink>
        <a:srgbClr val="954F72"/>
      </a:folHlink>
    </a:clrScheme>
    <a:fontScheme name="Crayon">
      <a:majorFont>
        <a:latin typeface="Arial Nova Light"/>
        <a:ea typeface=""/>
        <a:cs typeface=""/>
      </a:majorFont>
      <a:minorFont>
        <a:latin typeface="Arial 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ayon PPT v.1.1.potx" id="{8A53D671-32A7-4793-A481-098FBEDE6C31}" vid="{6645210B-2FDA-4196-BFFF-7F649E6727C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56509171-1B2F-4AC3-85E5-874FA903E74B}">
  <we:reference id="f12c312d-282a-4734-8843-05915fdfef0b" version="4.3.3.0" store="EXCatalog" storeType="EXCatalog"/>
  <we:alternateReferences>
    <we:reference id="WA104178141" version="4.3.3.0"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Resource_x0020_Type xmlns="75278f2c-ff30-4944-bcce-058989a3d697">PPT</Resource_x0020_Typ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6056A2390113F4581FC50585B1647AB" ma:contentTypeVersion="12" ma:contentTypeDescription="Create a new document." ma:contentTypeScope="" ma:versionID="94c08bc42c9026849f5ec964aba56141">
  <xsd:schema xmlns:xsd="http://www.w3.org/2001/XMLSchema" xmlns:xs="http://www.w3.org/2001/XMLSchema" xmlns:p="http://schemas.microsoft.com/office/2006/metadata/properties" xmlns:ns2="75278f2c-ff30-4944-bcce-058989a3d697" xmlns:ns3="316709f4-cc7d-4a59-a8ed-4f550d33eb0d" targetNamespace="http://schemas.microsoft.com/office/2006/metadata/properties" ma:root="true" ma:fieldsID="742f07016559e07136c43a9210c3f3bb" ns2:_="" ns3:_="">
    <xsd:import namespace="75278f2c-ff30-4944-bcce-058989a3d697"/>
    <xsd:import namespace="316709f4-cc7d-4a59-a8ed-4f550d33eb0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Resource_x0020_Type"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278f2c-ff30-4944-bcce-058989a3d69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Resource_x0020_Type" ma:index="12" nillable="true" ma:displayName="Resource Type" ma:default="PPT" ma:format="Dropdown" ma:internalName="Resource_x0020_Type">
      <xsd:simpleType>
        <xsd:restriction base="dms:Choice">
          <xsd:enumeration value="PPT"/>
          <xsd:enumeration value="Logo"/>
          <xsd:enumeration value="Signature Banner"/>
          <xsd:enumeration value="Social Media Banner"/>
          <xsd:enumeration value="Business Card"/>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16709f4-cc7d-4a59-a8ed-4f550d33eb0d"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31533AE-4B32-4665-9C79-BE55A8856BB6}">
  <ds:schemaRefs>
    <ds:schemaRef ds:uri="http://schemas.microsoft.com/office/2006/metadata/properties"/>
    <ds:schemaRef ds:uri="http://schemas.microsoft.com/office/infopath/2007/PartnerControls"/>
    <ds:schemaRef ds:uri="75278f2c-ff30-4944-bcce-058989a3d697"/>
  </ds:schemaRefs>
</ds:datastoreItem>
</file>

<file path=customXml/itemProps2.xml><?xml version="1.0" encoding="utf-8"?>
<ds:datastoreItem xmlns:ds="http://schemas.openxmlformats.org/officeDocument/2006/customXml" ds:itemID="{ACD77467-82CD-4A38-86B4-67DB5C20C4B3}">
  <ds:schemaRefs>
    <ds:schemaRef ds:uri="http://schemas.microsoft.com/sharepoint/v3/contenttype/forms"/>
  </ds:schemaRefs>
</ds:datastoreItem>
</file>

<file path=customXml/itemProps3.xml><?xml version="1.0" encoding="utf-8"?>
<ds:datastoreItem xmlns:ds="http://schemas.openxmlformats.org/officeDocument/2006/customXml" ds:itemID="{F496B63D-A053-46F3-AF61-3B84778BFA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5278f2c-ff30-4944-bcce-058989a3d697"/>
    <ds:schemaRef ds:uri="316709f4-cc7d-4a59-a8ed-4f550d33eb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rayon PPT</Template>
  <TotalTime>2190</TotalTime>
  <Words>1932</Words>
  <Application>Microsoft Office PowerPoint</Application>
  <PresentationFormat>On-screen Show (16:9)</PresentationFormat>
  <Paragraphs>526</Paragraphs>
  <Slides>39</Slides>
  <Notes>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3</vt:i4>
      </vt:variant>
      <vt:variant>
        <vt:lpstr>Slide Titles</vt:lpstr>
      </vt:variant>
      <vt:variant>
        <vt:i4>39</vt:i4>
      </vt:variant>
    </vt:vector>
  </HeadingPairs>
  <TitlesOfParts>
    <vt:vector size="50" baseType="lpstr">
      <vt:lpstr>Arial</vt:lpstr>
      <vt:lpstr>Arial Nova</vt:lpstr>
      <vt:lpstr>Arial Nova Light</vt:lpstr>
      <vt:lpstr>Bahnschrift</vt:lpstr>
      <vt:lpstr>Calibri</vt:lpstr>
      <vt:lpstr>Century Gothic</vt:lpstr>
      <vt:lpstr>opensanslight</vt:lpstr>
      <vt:lpstr>Office Theme</vt:lpstr>
      <vt:lpstr>think-cell Slide</vt:lpstr>
      <vt:lpstr>Visio</vt:lpstr>
      <vt:lpstr>Worksheet</vt:lpstr>
      <vt:lpstr>SAM Project Kick-Off</vt:lpstr>
      <vt:lpstr>PowerPoint Presentation</vt:lpstr>
      <vt:lpstr>Workshop Welcome and Objectives</vt:lpstr>
      <vt:lpstr>PowerPoint Presentation</vt:lpstr>
      <vt:lpstr>Stakeholders</vt:lpstr>
      <vt:lpstr>PowerPoint Presentation</vt:lpstr>
      <vt:lpstr>PowerPoint Presentation</vt:lpstr>
      <vt:lpstr>PowerPoint Presentation</vt:lpstr>
      <vt:lpstr>Which are the key Software Vendors?</vt:lpstr>
      <vt:lpstr>What key technology stacks are we using?</vt:lpstr>
      <vt:lpstr>What are the key systems manage business data?</vt:lpstr>
      <vt:lpstr>What types of Inventory Devices are we managing?</vt:lpstr>
      <vt:lpstr>What operating systems are we managing?</vt:lpstr>
      <vt:lpstr>What other integrations are needed?</vt:lpstr>
      <vt:lpstr>PowerPoint Presentation</vt:lpstr>
      <vt:lpstr>PowerPoint Presentation</vt:lpstr>
      <vt:lpstr>Key Design Parameters</vt:lpstr>
      <vt:lpstr>Logical Architecture</vt:lpstr>
      <vt:lpstr>Device Numbers</vt:lpstr>
      <vt:lpstr>Environments</vt:lpstr>
      <vt:lpstr>Inventory Data Sources (1)</vt:lpstr>
      <vt:lpstr>Inventory Data Sources (2)</vt:lpstr>
      <vt:lpstr>Business Data Sources</vt:lpstr>
      <vt:lpstr>Physical Architecture (cloud)</vt:lpstr>
      <vt:lpstr>Physical Architecture (on-prem)</vt:lpstr>
      <vt:lpstr>Inventory Beacon Placement</vt:lpstr>
      <vt:lpstr>Security Architecture</vt:lpstr>
      <vt:lpstr>Hardware Requirements</vt:lpstr>
      <vt:lpstr>Disaster Recover Architecture</vt:lpstr>
      <vt:lpstr>Enterprise Groups</vt:lpstr>
      <vt:lpstr>Access Control (Roles)</vt:lpstr>
      <vt:lpstr>Access Control (Roles)</vt:lpstr>
      <vt:lpstr>Data Model Extensions</vt:lpstr>
      <vt:lpstr>Data Model Extensions</vt:lpstr>
      <vt:lpstr>Reporting</vt:lpstr>
      <vt:lpstr>PowerPoint Presentation</vt:lpstr>
      <vt:lpstr>Sam Kick-Off</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Julia Sørensen</dc:creator>
  <cp:lastModifiedBy>Trevor Holmes</cp:lastModifiedBy>
  <cp:revision>155</cp:revision>
  <dcterms:created xsi:type="dcterms:W3CDTF">2020-05-12T13:31:18Z</dcterms:created>
  <dcterms:modified xsi:type="dcterms:W3CDTF">2020-10-27T04:2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056A2390113F4581FC50585B1647AB</vt:lpwstr>
  </property>
</Properties>
</file>